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2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3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4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5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6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ink/ink11.xml" ContentType="application/inkml+xml"/>
  <Override PartName="/ppt/ink/ink12.xml" ContentType="application/inkml+xml"/>
  <Override PartName="/ppt/ink/ink13.xml" ContentType="application/inkml+xml"/>
  <Override PartName="/ppt/ink/ink14.xml" ContentType="application/inkml+xml"/>
  <Override PartName="/ppt/ink/ink15.xml" ContentType="application/inkml+xml"/>
  <Override PartName="/ppt/ink/ink16.xml" ContentType="application/inkml+xml"/>
  <Override PartName="/ppt/ink/ink17.xml" ContentType="application/inkml+xml"/>
  <Override PartName="/ppt/ink/ink18.xml" ContentType="application/inkml+xml"/>
  <Override PartName="/ppt/ink/ink19.xml" ContentType="application/inkml+xml"/>
  <Override PartName="/ppt/ink/ink20.xml" ContentType="application/inkml+xml"/>
  <Override PartName="/ppt/ink/ink21.xml" ContentType="application/inkml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7"/>
  </p:notesMasterIdLst>
  <p:sldIdLst>
    <p:sldId id="256" r:id="rId2"/>
    <p:sldId id="257" r:id="rId3"/>
    <p:sldId id="258" r:id="rId4"/>
    <p:sldId id="531" r:id="rId5"/>
    <p:sldId id="532" r:id="rId6"/>
    <p:sldId id="534" r:id="rId7"/>
    <p:sldId id="533" r:id="rId8"/>
    <p:sldId id="535" r:id="rId9"/>
    <p:sldId id="536" r:id="rId10"/>
    <p:sldId id="539" r:id="rId11"/>
    <p:sldId id="540" r:id="rId12"/>
    <p:sldId id="541" r:id="rId13"/>
    <p:sldId id="542" r:id="rId14"/>
    <p:sldId id="544" r:id="rId15"/>
    <p:sldId id="551" r:id="rId16"/>
    <p:sldId id="546" r:id="rId17"/>
    <p:sldId id="554" r:id="rId18"/>
    <p:sldId id="555" r:id="rId19"/>
    <p:sldId id="556" r:id="rId20"/>
    <p:sldId id="557" r:id="rId21"/>
    <p:sldId id="558" r:id="rId22"/>
    <p:sldId id="559" r:id="rId23"/>
    <p:sldId id="560" r:id="rId24"/>
    <p:sldId id="561" r:id="rId25"/>
    <p:sldId id="562" r:id="rId26"/>
    <p:sldId id="563" r:id="rId27"/>
    <p:sldId id="564" r:id="rId28"/>
    <p:sldId id="565" r:id="rId29"/>
    <p:sldId id="566" r:id="rId30"/>
    <p:sldId id="567" r:id="rId31"/>
    <p:sldId id="568" r:id="rId32"/>
    <p:sldId id="569" r:id="rId33"/>
    <p:sldId id="570" r:id="rId34"/>
    <p:sldId id="571" r:id="rId35"/>
    <p:sldId id="572" r:id="rId36"/>
  </p:sldIdLst>
  <p:sldSz cx="12192000" cy="6858000"/>
  <p:notesSz cx="6858000" cy="9144000"/>
  <p:custDataLst>
    <p:tags r:id="rId3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FCF34DB-6E0E-4F4E-A860-A05143B0228D}">
          <p14:sldIdLst>
            <p14:sldId id="256"/>
            <p14:sldId id="257"/>
            <p14:sldId id="258"/>
            <p14:sldId id="531"/>
            <p14:sldId id="532"/>
            <p14:sldId id="534"/>
            <p14:sldId id="533"/>
            <p14:sldId id="535"/>
            <p14:sldId id="536"/>
            <p14:sldId id="539"/>
            <p14:sldId id="540"/>
            <p14:sldId id="541"/>
            <p14:sldId id="542"/>
            <p14:sldId id="544"/>
            <p14:sldId id="551"/>
            <p14:sldId id="546"/>
            <p14:sldId id="554"/>
            <p14:sldId id="555"/>
            <p14:sldId id="556"/>
            <p14:sldId id="557"/>
            <p14:sldId id="558"/>
            <p14:sldId id="559"/>
            <p14:sldId id="560"/>
            <p14:sldId id="561"/>
            <p14:sldId id="562"/>
            <p14:sldId id="563"/>
            <p14:sldId id="564"/>
            <p14:sldId id="565"/>
            <p14:sldId id="566"/>
            <p14:sldId id="567"/>
            <p14:sldId id="568"/>
            <p14:sldId id="569"/>
            <p14:sldId id="570"/>
            <p14:sldId id="571"/>
            <p14:sldId id="572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8AE2F7C-632A-4BBF-81A9-FCD6027EABEE}" v="149" dt="2021-07-24T02:41:33.31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3792" autoAdjust="0"/>
  </p:normalViewPr>
  <p:slideViewPr>
    <p:cSldViewPr snapToGrid="0">
      <p:cViewPr varScale="1">
        <p:scale>
          <a:sx n="62" d="100"/>
          <a:sy n="62" d="100"/>
        </p:scale>
        <p:origin x="828" y="5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iket Chhabra" userId="598e0514-bef3-4e71-b6aa-f2edd6441cff" providerId="ADAL" clId="{900BF137-52E4-4A71-9307-1630A0E39238}"/>
    <pc:docChg chg="undo custSel addSld delSld modSld sldOrd delMainMaster addSection delSection modSection">
      <pc:chgData name="Aniket Chhabra" userId="598e0514-bef3-4e71-b6aa-f2edd6441cff" providerId="ADAL" clId="{900BF137-52E4-4A71-9307-1630A0E39238}" dt="2021-06-27T03:48:29.179" v="3147"/>
      <pc:docMkLst>
        <pc:docMk/>
      </pc:docMkLst>
      <pc:sldChg chg="del">
        <pc:chgData name="Aniket Chhabra" userId="598e0514-bef3-4e71-b6aa-f2edd6441cff" providerId="ADAL" clId="{900BF137-52E4-4A71-9307-1630A0E39238}" dt="2021-06-27T02:02:16.417" v="2269" actId="47"/>
        <pc:sldMkLst>
          <pc:docMk/>
          <pc:sldMk cId="3275397145" sldId="476"/>
        </pc:sldMkLst>
      </pc:sldChg>
      <pc:sldChg chg="del">
        <pc:chgData name="Aniket Chhabra" userId="598e0514-bef3-4e71-b6aa-f2edd6441cff" providerId="ADAL" clId="{900BF137-52E4-4A71-9307-1630A0E39238}" dt="2021-06-27T02:02:16.417" v="2269" actId="47"/>
        <pc:sldMkLst>
          <pc:docMk/>
          <pc:sldMk cId="1261391772" sldId="477"/>
        </pc:sldMkLst>
      </pc:sldChg>
      <pc:sldChg chg="del">
        <pc:chgData name="Aniket Chhabra" userId="598e0514-bef3-4e71-b6aa-f2edd6441cff" providerId="ADAL" clId="{900BF137-52E4-4A71-9307-1630A0E39238}" dt="2021-06-27T01:56:03.362" v="375" actId="47"/>
        <pc:sldMkLst>
          <pc:docMk/>
          <pc:sldMk cId="844817729" sldId="485"/>
        </pc:sldMkLst>
      </pc:sldChg>
      <pc:sldChg chg="del">
        <pc:chgData name="Aniket Chhabra" userId="598e0514-bef3-4e71-b6aa-f2edd6441cff" providerId="ADAL" clId="{900BF137-52E4-4A71-9307-1630A0E39238}" dt="2021-06-27T01:56:49.157" v="638" actId="47"/>
        <pc:sldMkLst>
          <pc:docMk/>
          <pc:sldMk cId="427607696" sldId="486"/>
        </pc:sldMkLst>
      </pc:sldChg>
      <pc:sldChg chg="del">
        <pc:chgData name="Aniket Chhabra" userId="598e0514-bef3-4e71-b6aa-f2edd6441cff" providerId="ADAL" clId="{900BF137-52E4-4A71-9307-1630A0E39238}" dt="2021-06-27T01:57:12.643" v="769" actId="47"/>
        <pc:sldMkLst>
          <pc:docMk/>
          <pc:sldMk cId="424230947" sldId="487"/>
        </pc:sldMkLst>
      </pc:sldChg>
      <pc:sldChg chg="del">
        <pc:chgData name="Aniket Chhabra" userId="598e0514-bef3-4e71-b6aa-f2edd6441cff" providerId="ADAL" clId="{900BF137-52E4-4A71-9307-1630A0E39238}" dt="2021-06-27T01:57:28.170" v="873" actId="47"/>
        <pc:sldMkLst>
          <pc:docMk/>
          <pc:sldMk cId="279209438" sldId="488"/>
        </pc:sldMkLst>
      </pc:sldChg>
      <pc:sldChg chg="modSp del mod ord">
        <pc:chgData name="Aniket Chhabra" userId="598e0514-bef3-4e71-b6aa-f2edd6441cff" providerId="ADAL" clId="{900BF137-52E4-4A71-9307-1630A0E39238}" dt="2021-06-27T01:57:49.257" v="978" actId="47"/>
        <pc:sldMkLst>
          <pc:docMk/>
          <pc:sldMk cId="3573948348" sldId="490"/>
        </pc:sldMkLst>
        <pc:picChg chg="mod">
          <ac:chgData name="Aniket Chhabra" userId="598e0514-bef3-4e71-b6aa-f2edd6441cff" providerId="ADAL" clId="{900BF137-52E4-4A71-9307-1630A0E39238}" dt="2021-06-27T01:52:48.809" v="0" actId="1076"/>
          <ac:picMkLst>
            <pc:docMk/>
            <pc:sldMk cId="3573948348" sldId="490"/>
            <ac:picMk id="2" creationId="{2BAAEF3E-79FD-43B0-AA90-26415EB63F61}"/>
          </ac:picMkLst>
        </pc:picChg>
      </pc:sldChg>
      <pc:sldChg chg="del">
        <pc:chgData name="Aniket Chhabra" userId="598e0514-bef3-4e71-b6aa-f2edd6441cff" providerId="ADAL" clId="{900BF137-52E4-4A71-9307-1630A0E39238}" dt="2021-06-27T01:57:50.695" v="979" actId="47"/>
        <pc:sldMkLst>
          <pc:docMk/>
          <pc:sldMk cId="146654882" sldId="493"/>
        </pc:sldMkLst>
      </pc:sldChg>
      <pc:sldChg chg="del">
        <pc:chgData name="Aniket Chhabra" userId="598e0514-bef3-4e71-b6aa-f2edd6441cff" providerId="ADAL" clId="{900BF137-52E4-4A71-9307-1630A0E39238}" dt="2021-06-27T01:58:13.097" v="1084" actId="47"/>
        <pc:sldMkLst>
          <pc:docMk/>
          <pc:sldMk cId="3133866288" sldId="494"/>
        </pc:sldMkLst>
      </pc:sldChg>
      <pc:sldChg chg="del">
        <pc:chgData name="Aniket Chhabra" userId="598e0514-bef3-4e71-b6aa-f2edd6441cff" providerId="ADAL" clId="{900BF137-52E4-4A71-9307-1630A0E39238}" dt="2021-06-27T01:58:26.559" v="1145" actId="47"/>
        <pc:sldMkLst>
          <pc:docMk/>
          <pc:sldMk cId="286287367" sldId="496"/>
        </pc:sldMkLst>
      </pc:sldChg>
      <pc:sldChg chg="del">
        <pc:chgData name="Aniket Chhabra" userId="598e0514-bef3-4e71-b6aa-f2edd6441cff" providerId="ADAL" clId="{900BF137-52E4-4A71-9307-1630A0E39238}" dt="2021-06-27T01:58:43.040" v="1248" actId="47"/>
        <pc:sldMkLst>
          <pc:docMk/>
          <pc:sldMk cId="3750059198" sldId="497"/>
        </pc:sldMkLst>
      </pc:sldChg>
      <pc:sldChg chg="del">
        <pc:chgData name="Aniket Chhabra" userId="598e0514-bef3-4e71-b6aa-f2edd6441cff" providerId="ADAL" clId="{900BF137-52E4-4A71-9307-1630A0E39238}" dt="2021-06-27T01:59:15.478" v="1484" actId="47"/>
        <pc:sldMkLst>
          <pc:docMk/>
          <pc:sldMk cId="426437426" sldId="498"/>
        </pc:sldMkLst>
      </pc:sldChg>
      <pc:sldChg chg="del">
        <pc:chgData name="Aniket Chhabra" userId="598e0514-bef3-4e71-b6aa-f2edd6441cff" providerId="ADAL" clId="{900BF137-52E4-4A71-9307-1630A0E39238}" dt="2021-06-27T02:00:15.657" v="1697" actId="47"/>
        <pc:sldMkLst>
          <pc:docMk/>
          <pc:sldMk cId="3791057947" sldId="499"/>
        </pc:sldMkLst>
      </pc:sldChg>
      <pc:sldChg chg="del">
        <pc:chgData name="Aniket Chhabra" userId="598e0514-bef3-4e71-b6aa-f2edd6441cff" providerId="ADAL" clId="{900BF137-52E4-4A71-9307-1630A0E39238}" dt="2021-06-27T01:59:41.238" v="1632" actId="47"/>
        <pc:sldMkLst>
          <pc:docMk/>
          <pc:sldMk cId="2006898183" sldId="500"/>
        </pc:sldMkLst>
      </pc:sldChg>
      <pc:sldChg chg="del">
        <pc:chgData name="Aniket Chhabra" userId="598e0514-bef3-4e71-b6aa-f2edd6441cff" providerId="ADAL" clId="{900BF137-52E4-4A71-9307-1630A0E39238}" dt="2021-06-27T02:00:38.840" v="1844" actId="47"/>
        <pc:sldMkLst>
          <pc:docMk/>
          <pc:sldMk cId="3267276061" sldId="501"/>
        </pc:sldMkLst>
      </pc:sldChg>
      <pc:sldChg chg="addSp delSp modSp del mod">
        <pc:chgData name="Aniket Chhabra" userId="598e0514-bef3-4e71-b6aa-f2edd6441cff" providerId="ADAL" clId="{900BF137-52E4-4A71-9307-1630A0E39238}" dt="2021-06-27T02:00:54.417" v="1981" actId="47"/>
        <pc:sldMkLst>
          <pc:docMk/>
          <pc:sldMk cId="3872543785" sldId="502"/>
        </pc:sldMkLst>
        <pc:spChg chg="add del mod modVis">
          <ac:chgData name="Aniket Chhabra" userId="598e0514-bef3-4e71-b6aa-f2edd6441cff" providerId="ADAL" clId="{900BF137-52E4-4A71-9307-1630A0E39238}" dt="2021-06-27T02:00:41.781" v="1916" actId="962"/>
          <ac:spMkLst>
            <pc:docMk/>
            <pc:sldMk cId="3872543785" sldId="502"/>
            <ac:spMk id="2" creationId="{12BBAE51-DB5D-40DD-B8FE-BADF4391D576}"/>
          </ac:spMkLst>
        </pc:spChg>
        <pc:spChg chg="mod">
          <ac:chgData name="Aniket Chhabra" userId="598e0514-bef3-4e71-b6aa-f2edd6441cff" providerId="ADAL" clId="{900BF137-52E4-4A71-9307-1630A0E39238}" dt="2021-06-27T02:00:41.781" v="1918" actId="1076"/>
          <ac:spMkLst>
            <pc:docMk/>
            <pc:sldMk cId="3872543785" sldId="502"/>
            <ac:spMk id="6" creationId="{00000000-0000-0000-0000-000000000000}"/>
          </ac:spMkLst>
        </pc:spChg>
        <pc:graphicFrameChg chg="mod">
          <ac:chgData name="Aniket Chhabra" userId="598e0514-bef3-4e71-b6aa-f2edd6441cff" providerId="ADAL" clId="{900BF137-52E4-4A71-9307-1630A0E39238}" dt="2021-06-27T02:00:41.792" v="1920"/>
          <ac:graphicFrameMkLst>
            <pc:docMk/>
            <pc:sldMk cId="3872543785" sldId="502"/>
            <ac:graphicFrameMk id="8" creationId="{3AC27B92-CF91-49EA-8D28-F8DE24CCD041}"/>
          </ac:graphicFrameMkLst>
        </pc:graphicFrameChg>
      </pc:sldChg>
      <pc:sldChg chg="del">
        <pc:chgData name="Aniket Chhabra" userId="598e0514-bef3-4e71-b6aa-f2edd6441cff" providerId="ADAL" clId="{900BF137-52E4-4A71-9307-1630A0E39238}" dt="2021-06-27T02:02:16.417" v="2269" actId="47"/>
        <pc:sldMkLst>
          <pc:docMk/>
          <pc:sldMk cId="644485067" sldId="503"/>
        </pc:sldMkLst>
      </pc:sldChg>
      <pc:sldChg chg="del">
        <pc:chgData name="Aniket Chhabra" userId="598e0514-bef3-4e71-b6aa-f2edd6441cff" providerId="ADAL" clId="{900BF137-52E4-4A71-9307-1630A0E39238}" dt="2021-06-27T02:02:16.417" v="2269" actId="47"/>
        <pc:sldMkLst>
          <pc:docMk/>
          <pc:sldMk cId="2226722911" sldId="530"/>
        </pc:sldMkLst>
      </pc:sldChg>
      <pc:sldChg chg="del">
        <pc:chgData name="Aniket Chhabra" userId="598e0514-bef3-4e71-b6aa-f2edd6441cff" providerId="ADAL" clId="{900BF137-52E4-4A71-9307-1630A0E39238}" dt="2021-06-27T02:02:16.417" v="2269" actId="47"/>
        <pc:sldMkLst>
          <pc:docMk/>
          <pc:sldMk cId="2578293826" sldId="549"/>
        </pc:sldMkLst>
      </pc:sldChg>
      <pc:sldChg chg="del">
        <pc:chgData name="Aniket Chhabra" userId="598e0514-bef3-4e71-b6aa-f2edd6441cff" providerId="ADAL" clId="{900BF137-52E4-4A71-9307-1630A0E39238}" dt="2021-06-27T02:02:16.417" v="2269" actId="47"/>
        <pc:sldMkLst>
          <pc:docMk/>
          <pc:sldMk cId="2634442930" sldId="550"/>
        </pc:sldMkLst>
      </pc:sldChg>
      <pc:sldChg chg="del">
        <pc:chgData name="Aniket Chhabra" userId="598e0514-bef3-4e71-b6aa-f2edd6441cff" providerId="ADAL" clId="{900BF137-52E4-4A71-9307-1630A0E39238}" dt="2021-06-27T02:02:16.417" v="2269" actId="47"/>
        <pc:sldMkLst>
          <pc:docMk/>
          <pc:sldMk cId="1278864213" sldId="553"/>
        </pc:sldMkLst>
      </pc:sldChg>
      <pc:sldChg chg="addSp delSp modSp new add mod">
        <pc:chgData name="Aniket Chhabra" userId="598e0514-bef3-4e71-b6aa-f2edd6441cff" providerId="ADAL" clId="{900BF137-52E4-4A71-9307-1630A0E39238}" dt="2021-06-27T01:55:59.936" v="374"/>
        <pc:sldMkLst>
          <pc:docMk/>
          <pc:sldMk cId="861856795" sldId="554"/>
        </pc:sldMkLst>
        <pc:spChg chg="del">
          <ac:chgData name="Aniket Chhabra" userId="598e0514-bef3-4e71-b6aa-f2edd6441cff" providerId="ADAL" clId="{900BF137-52E4-4A71-9307-1630A0E39238}" dt="2021-06-27T01:55:30.452" v="6" actId="478"/>
          <ac:spMkLst>
            <pc:docMk/>
            <pc:sldMk cId="861856795" sldId="554"/>
            <ac:spMk id="2" creationId="{E4C6C634-6881-49EE-82CE-81E6EEA19DEB}"/>
          </ac:spMkLst>
        </pc:spChg>
        <pc:spChg chg="del">
          <ac:chgData name="Aniket Chhabra" userId="598e0514-bef3-4e71-b6aa-f2edd6441cff" providerId="ADAL" clId="{900BF137-52E4-4A71-9307-1630A0E39238}" dt="2021-06-27T01:55:30.452" v="6" actId="478"/>
          <ac:spMkLst>
            <pc:docMk/>
            <pc:sldMk cId="861856795" sldId="554"/>
            <ac:spMk id="3" creationId="{B4254CD8-7317-4DB4-8232-6293760B3387}"/>
          </ac:spMkLst>
        </pc:spChg>
        <pc:spChg chg="add del mod">
          <ac:chgData name="Aniket Chhabra" userId="598e0514-bef3-4e71-b6aa-f2edd6441cff" providerId="ADAL" clId="{900BF137-52E4-4A71-9307-1630A0E39238}" dt="2021-06-27T01:55:47.146" v="103"/>
          <ac:spMkLst>
            <pc:docMk/>
            <pc:sldMk cId="861856795" sldId="554"/>
            <ac:spMk id="5" creationId="{97662ADF-745C-4797-B7D2-9455CC4486DE}"/>
          </ac:spMkLst>
        </pc:spChg>
        <pc:spChg chg="add del mod">
          <ac:chgData name="Aniket Chhabra" userId="598e0514-bef3-4e71-b6aa-f2edd6441cff" providerId="ADAL" clId="{900BF137-52E4-4A71-9307-1630A0E39238}" dt="2021-06-27T01:55:47.146" v="103"/>
          <ac:spMkLst>
            <pc:docMk/>
            <pc:sldMk cId="861856795" sldId="554"/>
            <ac:spMk id="6" creationId="{08650889-1A65-4774-9BC7-28B2B1B49E62}"/>
          </ac:spMkLst>
        </pc:spChg>
        <pc:spChg chg="add del mod">
          <ac:chgData name="Aniket Chhabra" userId="598e0514-bef3-4e71-b6aa-f2edd6441cff" providerId="ADAL" clId="{900BF137-52E4-4A71-9307-1630A0E39238}" dt="2021-06-27T01:55:47.146" v="103"/>
          <ac:spMkLst>
            <pc:docMk/>
            <pc:sldMk cId="861856795" sldId="554"/>
            <ac:spMk id="9" creationId="{7F1DD50B-B7B9-49B9-89A2-A2ACD3E19A03}"/>
          </ac:spMkLst>
        </pc:spChg>
        <pc:spChg chg="add del mod">
          <ac:chgData name="Aniket Chhabra" userId="598e0514-bef3-4e71-b6aa-f2edd6441cff" providerId="ADAL" clId="{900BF137-52E4-4A71-9307-1630A0E39238}" dt="2021-06-27T01:55:47.146" v="103"/>
          <ac:spMkLst>
            <pc:docMk/>
            <pc:sldMk cId="861856795" sldId="554"/>
            <ac:spMk id="11" creationId="{CD6F9683-F0FF-4E36-8850-60736DBA6183}"/>
          </ac:spMkLst>
        </pc:spChg>
        <pc:spChg chg="add del mod modVis">
          <ac:chgData name="Aniket Chhabra" userId="598e0514-bef3-4e71-b6aa-f2edd6441cff" providerId="ADAL" clId="{900BF137-52E4-4A71-9307-1630A0E39238}" dt="2021-06-27T01:55:47.146" v="103"/>
          <ac:spMkLst>
            <pc:docMk/>
            <pc:sldMk cId="861856795" sldId="554"/>
            <ac:spMk id="12" creationId="{043C3488-E081-4642-BFCE-E074DA24631C}"/>
          </ac:spMkLst>
        </pc:spChg>
        <pc:spChg chg="add mod">
          <ac:chgData name="Aniket Chhabra" userId="598e0514-bef3-4e71-b6aa-f2edd6441cff" providerId="ADAL" clId="{900BF137-52E4-4A71-9307-1630A0E39238}" dt="2021-06-27T01:55:59.861" v="333" actId="948"/>
          <ac:spMkLst>
            <pc:docMk/>
            <pc:sldMk cId="861856795" sldId="554"/>
            <ac:spMk id="13" creationId="{3F80EA49-7F7F-43A8-91F0-D9CEA718F1E4}"/>
          </ac:spMkLst>
        </pc:spChg>
        <pc:spChg chg="add mod">
          <ac:chgData name="Aniket Chhabra" userId="598e0514-bef3-4e71-b6aa-f2edd6441cff" providerId="ADAL" clId="{900BF137-52E4-4A71-9307-1630A0E39238}" dt="2021-06-27T01:55:51.693" v="203" actId="1036"/>
          <ac:spMkLst>
            <pc:docMk/>
            <pc:sldMk cId="861856795" sldId="554"/>
            <ac:spMk id="14" creationId="{07D3584C-EE99-4A23-AFD1-D9943CF3BB46}"/>
          </ac:spMkLst>
        </pc:spChg>
        <pc:spChg chg="add mod">
          <ac:chgData name="Aniket Chhabra" userId="598e0514-bef3-4e71-b6aa-f2edd6441cff" providerId="ADAL" clId="{900BF137-52E4-4A71-9307-1630A0E39238}" dt="2021-06-27T01:55:51.693" v="203" actId="1036"/>
          <ac:spMkLst>
            <pc:docMk/>
            <pc:sldMk cId="861856795" sldId="554"/>
            <ac:spMk id="17" creationId="{19EE5978-2BED-4EB9-97E6-E6DEB704B848}"/>
          </ac:spMkLst>
        </pc:spChg>
        <pc:spChg chg="add mod">
          <ac:chgData name="Aniket Chhabra" userId="598e0514-bef3-4e71-b6aa-f2edd6441cff" providerId="ADAL" clId="{900BF137-52E4-4A71-9307-1630A0E39238}" dt="2021-06-27T01:55:51.693" v="203" actId="1036"/>
          <ac:spMkLst>
            <pc:docMk/>
            <pc:sldMk cId="861856795" sldId="554"/>
            <ac:spMk id="19" creationId="{A6EE1ED5-043C-408B-BAFF-B6FA0D7DCC44}"/>
          </ac:spMkLst>
        </pc:spChg>
        <pc:spChg chg="add del mod modVis">
          <ac:chgData name="Aniket Chhabra" userId="598e0514-bef3-4e71-b6aa-f2edd6441cff" providerId="ADAL" clId="{900BF137-52E4-4A71-9307-1630A0E39238}" dt="2021-06-27T01:55:48.987" v="147"/>
          <ac:spMkLst>
            <pc:docMk/>
            <pc:sldMk cId="861856795" sldId="554"/>
            <ac:spMk id="20" creationId="{89DB5B73-84C2-4B69-952F-1DD7A8FA40FF}"/>
          </ac:spMkLst>
        </pc:spChg>
        <pc:spChg chg="add del mod modVis">
          <ac:chgData name="Aniket Chhabra" userId="598e0514-bef3-4e71-b6aa-f2edd6441cff" providerId="ADAL" clId="{900BF137-52E4-4A71-9307-1630A0E39238}" dt="2021-06-27T01:55:50.693" v="191"/>
          <ac:spMkLst>
            <pc:docMk/>
            <pc:sldMk cId="861856795" sldId="554"/>
            <ac:spMk id="21" creationId="{0B6CEC46-9B85-4D13-93DF-4BA68022E65F}"/>
          </ac:spMkLst>
        </pc:spChg>
        <pc:spChg chg="add del mod modVis">
          <ac:chgData name="Aniket Chhabra" userId="598e0514-bef3-4e71-b6aa-f2edd6441cff" providerId="ADAL" clId="{900BF137-52E4-4A71-9307-1630A0E39238}" dt="2021-06-27T01:55:52.241" v="243"/>
          <ac:spMkLst>
            <pc:docMk/>
            <pc:sldMk cId="861856795" sldId="554"/>
            <ac:spMk id="22" creationId="{51E212E5-639C-44DA-BE18-3F9F39924C9F}"/>
          </ac:spMkLst>
        </pc:spChg>
        <pc:spChg chg="add del mod modVis">
          <ac:chgData name="Aniket Chhabra" userId="598e0514-bef3-4e71-b6aa-f2edd6441cff" providerId="ADAL" clId="{900BF137-52E4-4A71-9307-1630A0E39238}" dt="2021-06-27T01:55:55.953" v="286"/>
          <ac:spMkLst>
            <pc:docMk/>
            <pc:sldMk cId="861856795" sldId="554"/>
            <ac:spMk id="23" creationId="{21BDFC32-7902-4CFC-9117-F8FBF23EF658}"/>
          </ac:spMkLst>
        </pc:spChg>
        <pc:spChg chg="add del mod modVis">
          <ac:chgData name="Aniket Chhabra" userId="598e0514-bef3-4e71-b6aa-f2edd6441cff" providerId="ADAL" clId="{900BF137-52E4-4A71-9307-1630A0E39238}" dt="2021-06-27T01:55:57.290" v="329"/>
          <ac:spMkLst>
            <pc:docMk/>
            <pc:sldMk cId="861856795" sldId="554"/>
            <ac:spMk id="24" creationId="{16786E9D-059A-4A70-BEA2-1B0B5E7AC67E}"/>
          </ac:spMkLst>
        </pc:spChg>
        <pc:spChg chg="add del mod modVis">
          <ac:chgData name="Aniket Chhabra" userId="598e0514-bef3-4e71-b6aa-f2edd6441cff" providerId="ADAL" clId="{900BF137-52E4-4A71-9307-1630A0E39238}" dt="2021-06-27T01:55:59.931" v="372"/>
          <ac:spMkLst>
            <pc:docMk/>
            <pc:sldMk cId="861856795" sldId="554"/>
            <ac:spMk id="25" creationId="{F77B34AC-17AB-406E-9FE6-8BE24742D857}"/>
          </ac:spMkLst>
        </pc:spChg>
        <pc:graphicFrameChg chg="add mod modVis">
          <ac:chgData name="Aniket Chhabra" userId="598e0514-bef3-4e71-b6aa-f2edd6441cff" providerId="ADAL" clId="{900BF137-52E4-4A71-9307-1630A0E39238}" dt="2021-06-27T01:55:59.936" v="374"/>
          <ac:graphicFrameMkLst>
            <pc:docMk/>
            <pc:sldMk cId="861856795" sldId="554"/>
            <ac:graphicFrameMk id="4" creationId="{1C90E577-C92D-4467-BB34-38250A2587D9}"/>
          </ac:graphicFrameMkLst>
        </pc:graphicFrameChg>
        <pc:picChg chg="add del mod">
          <ac:chgData name="Aniket Chhabra" userId="598e0514-bef3-4e71-b6aa-f2edd6441cff" providerId="ADAL" clId="{900BF137-52E4-4A71-9307-1630A0E39238}" dt="2021-06-27T01:55:47.146" v="103"/>
          <ac:picMkLst>
            <pc:docMk/>
            <pc:sldMk cId="861856795" sldId="554"/>
            <ac:picMk id="7" creationId="{45A6EC9C-D0C4-4630-8CE4-16027EB2612D}"/>
          </ac:picMkLst>
        </pc:picChg>
        <pc:picChg chg="add del mod">
          <ac:chgData name="Aniket Chhabra" userId="598e0514-bef3-4e71-b6aa-f2edd6441cff" providerId="ADAL" clId="{900BF137-52E4-4A71-9307-1630A0E39238}" dt="2021-06-27T01:55:47.146" v="103"/>
          <ac:picMkLst>
            <pc:docMk/>
            <pc:sldMk cId="861856795" sldId="554"/>
            <ac:picMk id="8" creationId="{BC6DD6DC-2724-4A68-A033-18C6A7D8BAAE}"/>
          </ac:picMkLst>
        </pc:picChg>
        <pc:picChg chg="add del mod">
          <ac:chgData name="Aniket Chhabra" userId="598e0514-bef3-4e71-b6aa-f2edd6441cff" providerId="ADAL" clId="{900BF137-52E4-4A71-9307-1630A0E39238}" dt="2021-06-27T01:55:47.146" v="103"/>
          <ac:picMkLst>
            <pc:docMk/>
            <pc:sldMk cId="861856795" sldId="554"/>
            <ac:picMk id="10" creationId="{AA3B7836-8A22-41B6-B2BC-0F3CEC8D5A6D}"/>
          </ac:picMkLst>
        </pc:picChg>
        <pc:picChg chg="add mod">
          <ac:chgData name="Aniket Chhabra" userId="598e0514-bef3-4e71-b6aa-f2edd6441cff" providerId="ADAL" clId="{900BF137-52E4-4A71-9307-1630A0E39238}" dt="2021-06-27T01:55:51.693" v="203" actId="1036"/>
          <ac:picMkLst>
            <pc:docMk/>
            <pc:sldMk cId="861856795" sldId="554"/>
            <ac:picMk id="15" creationId="{59703DE8-8C84-48D0-AEDD-85C3B73FEE5F}"/>
          </ac:picMkLst>
        </pc:picChg>
        <pc:picChg chg="add mod">
          <ac:chgData name="Aniket Chhabra" userId="598e0514-bef3-4e71-b6aa-f2edd6441cff" providerId="ADAL" clId="{900BF137-52E4-4A71-9307-1630A0E39238}" dt="2021-06-27T01:55:51.693" v="203" actId="1036"/>
          <ac:picMkLst>
            <pc:docMk/>
            <pc:sldMk cId="861856795" sldId="554"/>
            <ac:picMk id="16" creationId="{F56B240D-7807-4C6A-AEA7-DC84F44A7B50}"/>
          </ac:picMkLst>
        </pc:picChg>
        <pc:picChg chg="add mod">
          <ac:chgData name="Aniket Chhabra" userId="598e0514-bef3-4e71-b6aa-f2edd6441cff" providerId="ADAL" clId="{900BF137-52E4-4A71-9307-1630A0E39238}" dt="2021-06-27T01:55:51.693" v="203" actId="1036"/>
          <ac:picMkLst>
            <pc:docMk/>
            <pc:sldMk cId="861856795" sldId="554"/>
            <ac:picMk id="18" creationId="{4D776379-40C1-4FF2-A25C-3C70C333AA40}"/>
          </ac:picMkLst>
        </pc:picChg>
      </pc:sldChg>
      <pc:sldChg chg="new add del">
        <pc:chgData name="Aniket Chhabra" userId="598e0514-bef3-4e71-b6aa-f2edd6441cff" providerId="ADAL" clId="{900BF137-52E4-4A71-9307-1630A0E39238}" dt="2021-06-27T01:55:16.255" v="3" actId="680"/>
        <pc:sldMkLst>
          <pc:docMk/>
          <pc:sldMk cId="2850073437" sldId="554"/>
        </pc:sldMkLst>
      </pc:sldChg>
      <pc:sldChg chg="addSp delSp modSp add mod">
        <pc:chgData name="Aniket Chhabra" userId="598e0514-bef3-4e71-b6aa-f2edd6441cff" providerId="ADAL" clId="{900BF137-52E4-4A71-9307-1630A0E39238}" dt="2021-06-27T01:56:40.036" v="621"/>
        <pc:sldMkLst>
          <pc:docMk/>
          <pc:sldMk cId="255658635" sldId="555"/>
        </pc:sldMkLst>
        <pc:spChg chg="add del mod">
          <ac:chgData name="Aniket Chhabra" userId="598e0514-bef3-4e71-b6aa-f2edd6441cff" providerId="ADAL" clId="{900BF137-52E4-4A71-9307-1630A0E39238}" dt="2021-06-27T01:56:17.518" v="385" actId="478"/>
          <ac:spMkLst>
            <pc:docMk/>
            <pc:sldMk cId="255658635" sldId="555"/>
            <ac:spMk id="3" creationId="{236CDDBF-F59D-4CB6-8A90-04773CD1363F}"/>
          </ac:spMkLst>
        </pc:spChg>
        <pc:spChg chg="add del mod modVis">
          <ac:chgData name="Aniket Chhabra" userId="598e0514-bef3-4e71-b6aa-f2edd6441cff" providerId="ADAL" clId="{900BF137-52E4-4A71-9307-1630A0E39238}" dt="2021-06-27T01:56:26.522" v="429"/>
          <ac:spMkLst>
            <pc:docMk/>
            <pc:sldMk cId="255658635" sldId="555"/>
            <ac:spMk id="5" creationId="{DBFA924A-26C6-4199-9ADE-FDF8BE21F1DC}"/>
          </ac:spMkLst>
        </pc:spChg>
        <pc:spChg chg="add del mod modVis">
          <ac:chgData name="Aniket Chhabra" userId="598e0514-bef3-4e71-b6aa-f2edd6441cff" providerId="ADAL" clId="{900BF137-52E4-4A71-9307-1630A0E39238}" dt="2021-06-27T01:56:29.187" v="472"/>
          <ac:spMkLst>
            <pc:docMk/>
            <pc:sldMk cId="255658635" sldId="555"/>
            <ac:spMk id="6" creationId="{8DAB2BAD-849C-4068-828C-16E769E35E99}"/>
          </ac:spMkLst>
        </pc:spChg>
        <pc:spChg chg="add del mod modVis">
          <ac:chgData name="Aniket Chhabra" userId="598e0514-bef3-4e71-b6aa-f2edd6441cff" providerId="ADAL" clId="{900BF137-52E4-4A71-9307-1630A0E39238}" dt="2021-06-27T01:56:37.661" v="525"/>
          <ac:spMkLst>
            <pc:docMk/>
            <pc:sldMk cId="255658635" sldId="555"/>
            <ac:spMk id="7" creationId="{2506BA2E-4127-48E0-BA75-CE8BAE6A98A0}"/>
          </ac:spMkLst>
        </pc:spChg>
        <pc:spChg chg="add del mod modVis">
          <ac:chgData name="Aniket Chhabra" userId="598e0514-bef3-4e71-b6aa-f2edd6441cff" providerId="ADAL" clId="{900BF137-52E4-4A71-9307-1630A0E39238}" dt="2021-06-27T01:56:38.688" v="570"/>
          <ac:spMkLst>
            <pc:docMk/>
            <pc:sldMk cId="255658635" sldId="555"/>
            <ac:spMk id="8" creationId="{E031E55F-474B-4BEF-9BDB-AAA0BD1973A5}"/>
          </ac:spMkLst>
        </pc:spChg>
        <pc:spChg chg="add del mod modVis">
          <ac:chgData name="Aniket Chhabra" userId="598e0514-bef3-4e71-b6aa-f2edd6441cff" providerId="ADAL" clId="{900BF137-52E4-4A71-9307-1630A0E39238}" dt="2021-06-27T01:56:40.032" v="619"/>
          <ac:spMkLst>
            <pc:docMk/>
            <pc:sldMk cId="255658635" sldId="555"/>
            <ac:spMk id="9" creationId="{37E5AA8C-B669-4166-98C7-3FA19D576265}"/>
          </ac:spMkLst>
        </pc:spChg>
        <pc:spChg chg="add mod">
          <ac:chgData name="Aniket Chhabra" userId="598e0514-bef3-4e71-b6aa-f2edd6441cff" providerId="ADAL" clId="{900BF137-52E4-4A71-9307-1630A0E39238}" dt="2021-06-27T01:56:39.972" v="580" actId="948"/>
          <ac:spMkLst>
            <pc:docMk/>
            <pc:sldMk cId="255658635" sldId="555"/>
            <ac:spMk id="12" creationId="{C72CCFA0-AF9F-4948-8430-EE9FAAEC1887}"/>
          </ac:spMkLst>
        </pc:spChg>
        <pc:spChg chg="del">
          <ac:chgData name="Aniket Chhabra" userId="598e0514-bef3-4e71-b6aa-f2edd6441cff" providerId="ADAL" clId="{900BF137-52E4-4A71-9307-1630A0E39238}" dt="2021-06-27T01:56:13.518" v="380" actId="478"/>
          <ac:spMkLst>
            <pc:docMk/>
            <pc:sldMk cId="255658635" sldId="555"/>
            <ac:spMk id="13" creationId="{3F80EA49-7F7F-43A8-91F0-D9CEA718F1E4}"/>
          </ac:spMkLst>
        </pc:spChg>
        <pc:spChg chg="del">
          <ac:chgData name="Aniket Chhabra" userId="598e0514-bef3-4e71-b6aa-f2edd6441cff" providerId="ADAL" clId="{900BF137-52E4-4A71-9307-1630A0E39238}" dt="2021-06-27T01:56:13.518" v="380" actId="478"/>
          <ac:spMkLst>
            <pc:docMk/>
            <pc:sldMk cId="255658635" sldId="555"/>
            <ac:spMk id="14" creationId="{07D3584C-EE99-4A23-AFD1-D9943CF3BB46}"/>
          </ac:spMkLst>
        </pc:spChg>
        <pc:spChg chg="del">
          <ac:chgData name="Aniket Chhabra" userId="598e0514-bef3-4e71-b6aa-f2edd6441cff" providerId="ADAL" clId="{900BF137-52E4-4A71-9307-1630A0E39238}" dt="2021-06-27T01:56:13.518" v="380" actId="478"/>
          <ac:spMkLst>
            <pc:docMk/>
            <pc:sldMk cId="255658635" sldId="555"/>
            <ac:spMk id="17" creationId="{19EE5978-2BED-4EB9-97E6-E6DEB704B848}"/>
          </ac:spMkLst>
        </pc:spChg>
        <pc:spChg chg="del">
          <ac:chgData name="Aniket Chhabra" userId="598e0514-bef3-4e71-b6aa-f2edd6441cff" providerId="ADAL" clId="{900BF137-52E4-4A71-9307-1630A0E39238}" dt="2021-06-27T01:56:13.518" v="380" actId="478"/>
          <ac:spMkLst>
            <pc:docMk/>
            <pc:sldMk cId="255658635" sldId="555"/>
            <ac:spMk id="19" creationId="{A6EE1ED5-043C-408B-BAFF-B6FA0D7DCC44}"/>
          </ac:spMkLst>
        </pc:spChg>
        <pc:spChg chg="add mod">
          <ac:chgData name="Aniket Chhabra" userId="598e0514-bef3-4e71-b6aa-f2edd6441cff" providerId="ADAL" clId="{900BF137-52E4-4A71-9307-1630A0E39238}" dt="2021-06-27T01:56:32.484" v="475" actId="1076"/>
          <ac:spMkLst>
            <pc:docMk/>
            <pc:sldMk cId="255658635" sldId="555"/>
            <ac:spMk id="20" creationId="{69EB8D4F-C80E-4AA9-B00B-EE1036A0D9CF}"/>
          </ac:spMkLst>
        </pc:spChg>
        <pc:spChg chg="add mod">
          <ac:chgData name="Aniket Chhabra" userId="598e0514-bef3-4e71-b6aa-f2edd6441cff" providerId="ADAL" clId="{900BF137-52E4-4A71-9307-1630A0E39238}" dt="2021-06-27T01:56:28.570" v="432" actId="1076"/>
          <ac:spMkLst>
            <pc:docMk/>
            <pc:sldMk cId="255658635" sldId="555"/>
            <ac:spMk id="24" creationId="{BDA6F214-6C47-4B1F-8E34-F8966B3B2E3A}"/>
          </ac:spMkLst>
        </pc:spChg>
        <pc:graphicFrameChg chg="mod">
          <ac:chgData name="Aniket Chhabra" userId="598e0514-bef3-4e71-b6aa-f2edd6441cff" providerId="ADAL" clId="{900BF137-52E4-4A71-9307-1630A0E39238}" dt="2021-06-27T01:56:40.036" v="621"/>
          <ac:graphicFrameMkLst>
            <pc:docMk/>
            <pc:sldMk cId="255658635" sldId="555"/>
            <ac:graphicFrameMk id="4" creationId="{1C90E577-C92D-4467-BB34-38250A2587D9}"/>
          </ac:graphicFrameMkLst>
        </pc:graphicFrameChg>
        <pc:picChg chg="del">
          <ac:chgData name="Aniket Chhabra" userId="598e0514-bef3-4e71-b6aa-f2edd6441cff" providerId="ADAL" clId="{900BF137-52E4-4A71-9307-1630A0E39238}" dt="2021-06-27T01:56:13.518" v="380" actId="478"/>
          <ac:picMkLst>
            <pc:docMk/>
            <pc:sldMk cId="255658635" sldId="555"/>
            <ac:picMk id="15" creationId="{59703DE8-8C84-48D0-AEDD-85C3B73FEE5F}"/>
          </ac:picMkLst>
        </pc:picChg>
        <pc:picChg chg="del">
          <ac:chgData name="Aniket Chhabra" userId="598e0514-bef3-4e71-b6aa-f2edd6441cff" providerId="ADAL" clId="{900BF137-52E4-4A71-9307-1630A0E39238}" dt="2021-06-27T01:56:13.518" v="380" actId="478"/>
          <ac:picMkLst>
            <pc:docMk/>
            <pc:sldMk cId="255658635" sldId="555"/>
            <ac:picMk id="16" creationId="{F56B240D-7807-4C6A-AEA7-DC84F44A7B50}"/>
          </ac:picMkLst>
        </pc:picChg>
        <pc:picChg chg="del mod">
          <ac:chgData name="Aniket Chhabra" userId="598e0514-bef3-4e71-b6aa-f2edd6441cff" providerId="ADAL" clId="{900BF137-52E4-4A71-9307-1630A0E39238}" dt="2021-06-27T01:56:14.837" v="384" actId="478"/>
          <ac:picMkLst>
            <pc:docMk/>
            <pc:sldMk cId="255658635" sldId="555"/>
            <ac:picMk id="18" creationId="{4D776379-40C1-4FF2-A25C-3C70C333AA40}"/>
          </ac:picMkLst>
        </pc:picChg>
        <pc:picChg chg="add mod">
          <ac:chgData name="Aniket Chhabra" userId="598e0514-bef3-4e71-b6aa-f2edd6441cff" providerId="ADAL" clId="{900BF137-52E4-4A71-9307-1630A0E39238}" dt="2021-06-27T01:56:28.570" v="432" actId="1076"/>
          <ac:picMkLst>
            <pc:docMk/>
            <pc:sldMk cId="255658635" sldId="555"/>
            <ac:picMk id="21" creationId="{F80DA37E-1585-4CC7-B379-EF96861F4F11}"/>
          </ac:picMkLst>
        </pc:picChg>
        <pc:picChg chg="add mod">
          <ac:chgData name="Aniket Chhabra" userId="598e0514-bef3-4e71-b6aa-f2edd6441cff" providerId="ADAL" clId="{900BF137-52E4-4A71-9307-1630A0E39238}" dt="2021-06-27T01:56:28.570" v="432" actId="1076"/>
          <ac:picMkLst>
            <pc:docMk/>
            <pc:sldMk cId="255658635" sldId="555"/>
            <ac:picMk id="22" creationId="{07FAB6F5-C169-4BE8-AB49-721DAF9B77ED}"/>
          </ac:picMkLst>
        </pc:picChg>
        <pc:picChg chg="add mod">
          <ac:chgData name="Aniket Chhabra" userId="598e0514-bef3-4e71-b6aa-f2edd6441cff" providerId="ADAL" clId="{900BF137-52E4-4A71-9307-1630A0E39238}" dt="2021-06-27T01:56:28.570" v="432" actId="1076"/>
          <ac:picMkLst>
            <pc:docMk/>
            <pc:sldMk cId="255658635" sldId="555"/>
            <ac:picMk id="23" creationId="{C2F2E831-D63C-4A32-8BF5-BE89D7535AD5}"/>
          </ac:picMkLst>
        </pc:picChg>
      </pc:sldChg>
      <pc:sldChg chg="new add del">
        <pc:chgData name="Aniket Chhabra" userId="598e0514-bef3-4e71-b6aa-f2edd6441cff" providerId="ADAL" clId="{900BF137-52E4-4A71-9307-1630A0E39238}" dt="2021-06-27T01:56:08.238" v="378" actId="680"/>
        <pc:sldMkLst>
          <pc:docMk/>
          <pc:sldMk cId="530616510" sldId="555"/>
        </pc:sldMkLst>
      </pc:sldChg>
      <pc:sldChg chg="addSp delSp modSp new add mod">
        <pc:chgData name="Aniket Chhabra" userId="598e0514-bef3-4e71-b6aa-f2edd6441cff" providerId="ADAL" clId="{900BF137-52E4-4A71-9307-1630A0E39238}" dt="2021-06-27T01:57:08.001" v="768"/>
        <pc:sldMkLst>
          <pc:docMk/>
          <pc:sldMk cId="2456475776" sldId="556"/>
        </pc:sldMkLst>
        <pc:spChg chg="del">
          <ac:chgData name="Aniket Chhabra" userId="598e0514-bef3-4e71-b6aa-f2edd6441cff" providerId="ADAL" clId="{900BF137-52E4-4A71-9307-1630A0E39238}" dt="2021-06-27T01:56:46.347" v="624" actId="478"/>
          <ac:spMkLst>
            <pc:docMk/>
            <pc:sldMk cId="2456475776" sldId="556"/>
            <ac:spMk id="2" creationId="{EBBDCF5E-BF18-4592-B01E-567CAECBC3C7}"/>
          </ac:spMkLst>
        </pc:spChg>
        <pc:spChg chg="del">
          <ac:chgData name="Aniket Chhabra" userId="598e0514-bef3-4e71-b6aa-f2edd6441cff" providerId="ADAL" clId="{900BF137-52E4-4A71-9307-1630A0E39238}" dt="2021-06-27T01:56:46.347" v="624" actId="478"/>
          <ac:spMkLst>
            <pc:docMk/>
            <pc:sldMk cId="2456475776" sldId="556"/>
            <ac:spMk id="3" creationId="{9ECEE536-113E-4D0E-95E9-157308930094}"/>
          </ac:spMkLst>
        </pc:spChg>
        <pc:spChg chg="add mod">
          <ac:chgData name="Aniket Chhabra" userId="598e0514-bef3-4e71-b6aa-f2edd6441cff" providerId="ADAL" clId="{900BF137-52E4-4A71-9307-1630A0E39238}" dt="2021-06-27T01:57:07.938" v="727" actId="948"/>
          <ac:spMkLst>
            <pc:docMk/>
            <pc:sldMk cId="2456475776" sldId="556"/>
            <ac:spMk id="5" creationId="{068675DC-12A7-4C21-8AE5-8762FEA607F5}"/>
          </ac:spMkLst>
        </pc:spChg>
        <pc:spChg chg="add mod">
          <ac:chgData name="Aniket Chhabra" userId="598e0514-bef3-4e71-b6aa-f2edd6441cff" providerId="ADAL" clId="{900BF137-52E4-4A71-9307-1630A0E39238}" dt="2021-06-27T01:57:03.047" v="683" actId="1076"/>
          <ac:spMkLst>
            <pc:docMk/>
            <pc:sldMk cId="2456475776" sldId="556"/>
            <ac:spMk id="8" creationId="{AB473726-7B6E-476A-B861-B4D165C8682C}"/>
          </ac:spMkLst>
        </pc:spChg>
        <pc:spChg chg="add mod">
          <ac:chgData name="Aniket Chhabra" userId="598e0514-bef3-4e71-b6aa-f2edd6441cff" providerId="ADAL" clId="{900BF137-52E4-4A71-9307-1630A0E39238}" dt="2021-06-27T01:57:03.047" v="683" actId="1076"/>
          <ac:spMkLst>
            <pc:docMk/>
            <pc:sldMk cId="2456475776" sldId="556"/>
            <ac:spMk id="10" creationId="{66092C8E-21F2-460C-9A2E-6661860D14D3}"/>
          </ac:spMkLst>
        </pc:spChg>
        <pc:spChg chg="add mod">
          <ac:chgData name="Aniket Chhabra" userId="598e0514-bef3-4e71-b6aa-f2edd6441cff" providerId="ADAL" clId="{900BF137-52E4-4A71-9307-1630A0E39238}" dt="2021-06-27T01:57:03.047" v="683" actId="1076"/>
          <ac:spMkLst>
            <pc:docMk/>
            <pc:sldMk cId="2456475776" sldId="556"/>
            <ac:spMk id="11" creationId="{ECC1066E-EB31-44E9-8DCF-597DB845060F}"/>
          </ac:spMkLst>
        </pc:spChg>
        <pc:spChg chg="add mod">
          <ac:chgData name="Aniket Chhabra" userId="598e0514-bef3-4e71-b6aa-f2edd6441cff" providerId="ADAL" clId="{900BF137-52E4-4A71-9307-1630A0E39238}" dt="2021-06-27T01:57:03.047" v="683" actId="1076"/>
          <ac:spMkLst>
            <pc:docMk/>
            <pc:sldMk cId="2456475776" sldId="556"/>
            <ac:spMk id="13" creationId="{F29247CF-4C08-47C2-907D-6532E1DF562D}"/>
          </ac:spMkLst>
        </pc:spChg>
        <pc:spChg chg="add mod">
          <ac:chgData name="Aniket Chhabra" userId="598e0514-bef3-4e71-b6aa-f2edd6441cff" providerId="ADAL" clId="{900BF137-52E4-4A71-9307-1630A0E39238}" dt="2021-06-27T01:57:03.047" v="683" actId="1076"/>
          <ac:spMkLst>
            <pc:docMk/>
            <pc:sldMk cId="2456475776" sldId="556"/>
            <ac:spMk id="14" creationId="{3B7AF7AF-F0CA-4A73-AFF1-8E37DED97D7B}"/>
          </ac:spMkLst>
        </pc:spChg>
        <pc:spChg chg="add mod">
          <ac:chgData name="Aniket Chhabra" userId="598e0514-bef3-4e71-b6aa-f2edd6441cff" providerId="ADAL" clId="{900BF137-52E4-4A71-9307-1630A0E39238}" dt="2021-06-27T01:57:03.047" v="683" actId="1076"/>
          <ac:spMkLst>
            <pc:docMk/>
            <pc:sldMk cId="2456475776" sldId="556"/>
            <ac:spMk id="15" creationId="{E6B88A05-A2B8-431C-A4AE-D52EB697FC55}"/>
          </ac:spMkLst>
        </pc:spChg>
        <pc:spChg chg="add del mod modVis">
          <ac:chgData name="Aniket Chhabra" userId="598e0514-bef3-4e71-b6aa-f2edd6441cff" providerId="ADAL" clId="{900BF137-52E4-4A71-9307-1630A0E39238}" dt="2021-06-27T01:57:00.878" v="680"/>
          <ac:spMkLst>
            <pc:docMk/>
            <pc:sldMk cId="2456475776" sldId="556"/>
            <ac:spMk id="16" creationId="{5A64832D-A085-419E-972B-FB9AE8B52E8F}"/>
          </ac:spMkLst>
        </pc:spChg>
        <pc:spChg chg="add del mod modVis">
          <ac:chgData name="Aniket Chhabra" userId="598e0514-bef3-4e71-b6aa-f2edd6441cff" providerId="ADAL" clId="{900BF137-52E4-4A71-9307-1630A0E39238}" dt="2021-06-27T01:57:03.657" v="723"/>
          <ac:spMkLst>
            <pc:docMk/>
            <pc:sldMk cId="2456475776" sldId="556"/>
            <ac:spMk id="17" creationId="{F973F60B-3E07-48C5-98A9-B67C78347ED4}"/>
          </ac:spMkLst>
        </pc:spChg>
        <pc:spChg chg="add del mod modVis">
          <ac:chgData name="Aniket Chhabra" userId="598e0514-bef3-4e71-b6aa-f2edd6441cff" providerId="ADAL" clId="{900BF137-52E4-4A71-9307-1630A0E39238}" dt="2021-06-27T01:57:07.998" v="766"/>
          <ac:spMkLst>
            <pc:docMk/>
            <pc:sldMk cId="2456475776" sldId="556"/>
            <ac:spMk id="18" creationId="{4C0EC769-DEDA-4C0C-A0D3-6B809C5563DA}"/>
          </ac:spMkLst>
        </pc:spChg>
        <pc:graphicFrameChg chg="add mod modVis">
          <ac:chgData name="Aniket Chhabra" userId="598e0514-bef3-4e71-b6aa-f2edd6441cff" providerId="ADAL" clId="{900BF137-52E4-4A71-9307-1630A0E39238}" dt="2021-06-27T01:57:08.001" v="768"/>
          <ac:graphicFrameMkLst>
            <pc:docMk/>
            <pc:sldMk cId="2456475776" sldId="556"/>
            <ac:graphicFrameMk id="4" creationId="{EF3AA50D-94E2-4653-8C72-BE83258C7F75}"/>
          </ac:graphicFrameMkLst>
        </pc:graphicFrameChg>
        <pc:picChg chg="add mod">
          <ac:chgData name="Aniket Chhabra" userId="598e0514-bef3-4e71-b6aa-f2edd6441cff" providerId="ADAL" clId="{900BF137-52E4-4A71-9307-1630A0E39238}" dt="2021-06-27T01:57:03.047" v="683" actId="1076"/>
          <ac:picMkLst>
            <pc:docMk/>
            <pc:sldMk cId="2456475776" sldId="556"/>
            <ac:picMk id="6" creationId="{C33CBCA1-C079-40B7-84F3-EC843F1D453B}"/>
          </ac:picMkLst>
        </pc:picChg>
        <pc:picChg chg="add mod">
          <ac:chgData name="Aniket Chhabra" userId="598e0514-bef3-4e71-b6aa-f2edd6441cff" providerId="ADAL" clId="{900BF137-52E4-4A71-9307-1630A0E39238}" dt="2021-06-27T01:57:03.047" v="683" actId="1076"/>
          <ac:picMkLst>
            <pc:docMk/>
            <pc:sldMk cId="2456475776" sldId="556"/>
            <ac:picMk id="7" creationId="{F27F4AA2-B779-4005-A986-0FB7444519CB}"/>
          </ac:picMkLst>
        </pc:picChg>
        <pc:picChg chg="add mod">
          <ac:chgData name="Aniket Chhabra" userId="598e0514-bef3-4e71-b6aa-f2edd6441cff" providerId="ADAL" clId="{900BF137-52E4-4A71-9307-1630A0E39238}" dt="2021-06-27T01:57:03.047" v="683" actId="1076"/>
          <ac:picMkLst>
            <pc:docMk/>
            <pc:sldMk cId="2456475776" sldId="556"/>
            <ac:picMk id="9" creationId="{9E0637DC-261F-4BDD-A2B2-09BC67CC082D}"/>
          </ac:picMkLst>
        </pc:picChg>
        <pc:picChg chg="add mod">
          <ac:chgData name="Aniket Chhabra" userId="598e0514-bef3-4e71-b6aa-f2edd6441cff" providerId="ADAL" clId="{900BF137-52E4-4A71-9307-1630A0E39238}" dt="2021-06-27T01:57:03.047" v="683" actId="1076"/>
          <ac:picMkLst>
            <pc:docMk/>
            <pc:sldMk cId="2456475776" sldId="556"/>
            <ac:picMk id="12" creationId="{48839B27-6718-4770-84F4-349EE7BA9777}"/>
          </ac:picMkLst>
        </pc:picChg>
      </pc:sldChg>
      <pc:sldChg chg="addSp delSp modSp new add mod">
        <pc:chgData name="Aniket Chhabra" userId="598e0514-bef3-4e71-b6aa-f2edd6441cff" providerId="ADAL" clId="{900BF137-52E4-4A71-9307-1630A0E39238}" dt="2021-06-27T01:57:25.091" v="872"/>
        <pc:sldMkLst>
          <pc:docMk/>
          <pc:sldMk cId="3294619517" sldId="557"/>
        </pc:sldMkLst>
        <pc:spChg chg="del">
          <ac:chgData name="Aniket Chhabra" userId="598e0514-bef3-4e71-b6aa-f2edd6441cff" providerId="ADAL" clId="{900BF137-52E4-4A71-9307-1630A0E39238}" dt="2021-06-27T01:57:21.993" v="772" actId="478"/>
          <ac:spMkLst>
            <pc:docMk/>
            <pc:sldMk cId="3294619517" sldId="557"/>
            <ac:spMk id="2" creationId="{866AD2E5-909B-4CD0-96B3-DD557893CF6B}"/>
          </ac:spMkLst>
        </pc:spChg>
        <pc:spChg chg="del">
          <ac:chgData name="Aniket Chhabra" userId="598e0514-bef3-4e71-b6aa-f2edd6441cff" providerId="ADAL" clId="{900BF137-52E4-4A71-9307-1630A0E39238}" dt="2021-06-27T01:57:21.993" v="772" actId="478"/>
          <ac:spMkLst>
            <pc:docMk/>
            <pc:sldMk cId="3294619517" sldId="557"/>
            <ac:spMk id="3" creationId="{75676F2E-EC39-4539-952F-466CAC71A476}"/>
          </ac:spMkLst>
        </pc:spChg>
        <pc:spChg chg="add mod">
          <ac:chgData name="Aniket Chhabra" userId="598e0514-bef3-4e71-b6aa-f2edd6441cff" providerId="ADAL" clId="{900BF137-52E4-4A71-9307-1630A0E39238}" dt="2021-06-27T01:57:25.007" v="831" actId="948"/>
          <ac:spMkLst>
            <pc:docMk/>
            <pc:sldMk cId="3294619517" sldId="557"/>
            <ac:spMk id="4" creationId="{CD8A2BF8-8646-4A8F-A0E6-430BE96944AC}"/>
          </ac:spMkLst>
        </pc:spChg>
        <pc:spChg chg="add del mod modVis">
          <ac:chgData name="Aniket Chhabra" userId="598e0514-bef3-4e71-b6aa-f2edd6441cff" providerId="ADAL" clId="{900BF137-52E4-4A71-9307-1630A0E39238}" dt="2021-06-27T01:57:23.007" v="814"/>
          <ac:spMkLst>
            <pc:docMk/>
            <pc:sldMk cId="3294619517" sldId="557"/>
            <ac:spMk id="6" creationId="{7D4943EF-57AE-4630-9579-73BAF663B6E4}"/>
          </ac:spMkLst>
        </pc:spChg>
        <pc:spChg chg="add del mod modVis">
          <ac:chgData name="Aniket Chhabra" userId="598e0514-bef3-4e71-b6aa-f2edd6441cff" providerId="ADAL" clId="{900BF137-52E4-4A71-9307-1630A0E39238}" dt="2021-06-27T01:57:25.087" v="870"/>
          <ac:spMkLst>
            <pc:docMk/>
            <pc:sldMk cId="3294619517" sldId="557"/>
            <ac:spMk id="8" creationId="{1AB843A0-35E1-4A36-BF4E-2FE8F4DDB410}"/>
          </ac:spMkLst>
        </pc:spChg>
        <pc:graphicFrameChg chg="add mod ord modVis">
          <ac:chgData name="Aniket Chhabra" userId="598e0514-bef3-4e71-b6aa-f2edd6441cff" providerId="ADAL" clId="{900BF137-52E4-4A71-9307-1630A0E39238}" dt="2021-06-27T01:57:25.091" v="872"/>
          <ac:graphicFrameMkLst>
            <pc:docMk/>
            <pc:sldMk cId="3294619517" sldId="557"/>
            <ac:graphicFrameMk id="7" creationId="{AD6DB957-665E-46AB-B73F-6CD0C1BB6514}"/>
          </ac:graphicFrameMkLst>
        </pc:graphicFrameChg>
        <pc:picChg chg="add mod">
          <ac:chgData name="Aniket Chhabra" userId="598e0514-bef3-4e71-b6aa-f2edd6441cff" providerId="ADAL" clId="{900BF137-52E4-4A71-9307-1630A0E39238}" dt="2021-06-27T01:57:24.311" v="830" actId="1076"/>
          <ac:picMkLst>
            <pc:docMk/>
            <pc:sldMk cId="3294619517" sldId="557"/>
            <ac:picMk id="5" creationId="{233D5B15-B16B-45DD-97CC-D34A7755548D}"/>
          </ac:picMkLst>
        </pc:picChg>
      </pc:sldChg>
      <pc:sldChg chg="addSp delSp modSp new add mod">
        <pc:chgData name="Aniket Chhabra" userId="598e0514-bef3-4e71-b6aa-f2edd6441cff" providerId="ADAL" clId="{900BF137-52E4-4A71-9307-1630A0E39238}" dt="2021-06-27T01:57:44.954" v="975"/>
        <pc:sldMkLst>
          <pc:docMk/>
          <pc:sldMk cId="3534136008" sldId="558"/>
        </pc:sldMkLst>
        <pc:spChg chg="del">
          <ac:chgData name="Aniket Chhabra" userId="598e0514-bef3-4e71-b6aa-f2edd6441cff" providerId="ADAL" clId="{900BF137-52E4-4A71-9307-1630A0E39238}" dt="2021-06-27T01:57:43.696" v="876" actId="478"/>
          <ac:spMkLst>
            <pc:docMk/>
            <pc:sldMk cId="3534136008" sldId="558"/>
            <ac:spMk id="2" creationId="{0B8D9BA0-851E-4DBB-B246-3EA31DFAE713}"/>
          </ac:spMkLst>
        </pc:spChg>
        <pc:spChg chg="del">
          <ac:chgData name="Aniket Chhabra" userId="598e0514-bef3-4e71-b6aa-f2edd6441cff" providerId="ADAL" clId="{900BF137-52E4-4A71-9307-1630A0E39238}" dt="2021-06-27T01:57:43.696" v="876" actId="478"/>
          <ac:spMkLst>
            <pc:docMk/>
            <pc:sldMk cId="3534136008" sldId="558"/>
            <ac:spMk id="3" creationId="{70422100-D598-4D20-83C0-97CFC8385BE7}"/>
          </ac:spMkLst>
        </pc:spChg>
        <pc:spChg chg="add mod">
          <ac:chgData name="Aniket Chhabra" userId="598e0514-bef3-4e71-b6aa-f2edd6441cff" providerId="ADAL" clId="{900BF137-52E4-4A71-9307-1630A0E39238}" dt="2021-06-27T01:57:44.897" v="934" actId="948"/>
          <ac:spMkLst>
            <pc:docMk/>
            <pc:sldMk cId="3534136008" sldId="558"/>
            <ac:spMk id="4" creationId="{D206B5E0-14E0-4D12-8D09-A380A0BF4DB6}"/>
          </ac:spMkLst>
        </pc:spChg>
        <pc:spChg chg="add mod">
          <ac:chgData name="Aniket Chhabra" userId="598e0514-bef3-4e71-b6aa-f2edd6441cff" providerId="ADAL" clId="{900BF137-52E4-4A71-9307-1630A0E39238}" dt="2021-06-27T01:57:44.067" v="877"/>
          <ac:spMkLst>
            <pc:docMk/>
            <pc:sldMk cId="3534136008" sldId="558"/>
            <ac:spMk id="9" creationId="{1B21CCF2-2ED1-4079-BF99-3C4F213A8AEB}"/>
          </ac:spMkLst>
        </pc:spChg>
        <pc:spChg chg="add mod">
          <ac:chgData name="Aniket Chhabra" userId="598e0514-bef3-4e71-b6aa-f2edd6441cff" providerId="ADAL" clId="{900BF137-52E4-4A71-9307-1630A0E39238}" dt="2021-06-27T01:57:44.067" v="877"/>
          <ac:spMkLst>
            <pc:docMk/>
            <pc:sldMk cId="3534136008" sldId="558"/>
            <ac:spMk id="10" creationId="{EFDE4423-8307-44CA-A81D-E90C461560AA}"/>
          </ac:spMkLst>
        </pc:spChg>
        <pc:spChg chg="add del mod modVis">
          <ac:chgData name="Aniket Chhabra" userId="598e0514-bef3-4e71-b6aa-f2edd6441cff" providerId="ADAL" clId="{900BF137-52E4-4A71-9307-1630A0E39238}" dt="2021-06-27T01:57:44.285" v="917"/>
          <ac:spMkLst>
            <pc:docMk/>
            <pc:sldMk cId="3534136008" sldId="558"/>
            <ac:spMk id="14" creationId="{354B530E-7CE8-4BAA-97AC-8406A5F04576}"/>
          </ac:spMkLst>
        </pc:spChg>
        <pc:spChg chg="add del mod modVis">
          <ac:chgData name="Aniket Chhabra" userId="598e0514-bef3-4e71-b6aa-f2edd6441cff" providerId="ADAL" clId="{900BF137-52E4-4A71-9307-1630A0E39238}" dt="2021-06-27T01:57:44.951" v="973"/>
          <ac:spMkLst>
            <pc:docMk/>
            <pc:sldMk cId="3534136008" sldId="558"/>
            <ac:spMk id="16" creationId="{1AAAACD4-1C4E-4623-BA6C-D4108E13841D}"/>
          </ac:spMkLst>
        </pc:spChg>
        <pc:graphicFrameChg chg="add mod ord modVis">
          <ac:chgData name="Aniket Chhabra" userId="598e0514-bef3-4e71-b6aa-f2edd6441cff" providerId="ADAL" clId="{900BF137-52E4-4A71-9307-1630A0E39238}" dt="2021-06-27T01:57:44.954" v="975"/>
          <ac:graphicFrameMkLst>
            <pc:docMk/>
            <pc:sldMk cId="3534136008" sldId="558"/>
            <ac:graphicFrameMk id="15" creationId="{8B3DBD4D-7732-4F52-9A74-83B4B48B69F9}"/>
          </ac:graphicFrameMkLst>
        </pc:graphicFrameChg>
        <pc:picChg chg="add mod">
          <ac:chgData name="Aniket Chhabra" userId="598e0514-bef3-4e71-b6aa-f2edd6441cff" providerId="ADAL" clId="{900BF137-52E4-4A71-9307-1630A0E39238}" dt="2021-06-27T01:57:44.067" v="877"/>
          <ac:picMkLst>
            <pc:docMk/>
            <pc:sldMk cId="3534136008" sldId="558"/>
            <ac:picMk id="5" creationId="{5CFB4AE7-DCE2-401B-B2CE-32D7D8472455}"/>
          </ac:picMkLst>
        </pc:picChg>
        <pc:picChg chg="add mod">
          <ac:chgData name="Aniket Chhabra" userId="598e0514-bef3-4e71-b6aa-f2edd6441cff" providerId="ADAL" clId="{900BF137-52E4-4A71-9307-1630A0E39238}" dt="2021-06-27T01:57:44.067" v="877"/>
          <ac:picMkLst>
            <pc:docMk/>
            <pc:sldMk cId="3534136008" sldId="558"/>
            <ac:picMk id="6" creationId="{BEB5B822-E710-46DA-9A87-E81969CFFD98}"/>
          </ac:picMkLst>
        </pc:picChg>
        <pc:picChg chg="add mod">
          <ac:chgData name="Aniket Chhabra" userId="598e0514-bef3-4e71-b6aa-f2edd6441cff" providerId="ADAL" clId="{900BF137-52E4-4A71-9307-1630A0E39238}" dt="2021-06-27T01:57:44.067" v="877"/>
          <ac:picMkLst>
            <pc:docMk/>
            <pc:sldMk cId="3534136008" sldId="558"/>
            <ac:picMk id="7" creationId="{300190BF-8627-4A49-B793-D6299E36BF51}"/>
          </ac:picMkLst>
        </pc:picChg>
        <pc:picChg chg="add mod">
          <ac:chgData name="Aniket Chhabra" userId="598e0514-bef3-4e71-b6aa-f2edd6441cff" providerId="ADAL" clId="{900BF137-52E4-4A71-9307-1630A0E39238}" dt="2021-06-27T01:57:44.067" v="877"/>
          <ac:picMkLst>
            <pc:docMk/>
            <pc:sldMk cId="3534136008" sldId="558"/>
            <ac:picMk id="8" creationId="{941BA4C2-D46B-4011-A4AC-DFB49D48A1D4}"/>
          </ac:picMkLst>
        </pc:picChg>
        <pc:picChg chg="add mod">
          <ac:chgData name="Aniket Chhabra" userId="598e0514-bef3-4e71-b6aa-f2edd6441cff" providerId="ADAL" clId="{900BF137-52E4-4A71-9307-1630A0E39238}" dt="2021-06-27T01:57:44.067" v="877"/>
          <ac:picMkLst>
            <pc:docMk/>
            <pc:sldMk cId="3534136008" sldId="558"/>
            <ac:picMk id="11" creationId="{B4B20DA8-DAAC-4BCA-8781-5FC620E43FA3}"/>
          </ac:picMkLst>
        </pc:picChg>
        <pc:picChg chg="add mod">
          <ac:chgData name="Aniket Chhabra" userId="598e0514-bef3-4e71-b6aa-f2edd6441cff" providerId="ADAL" clId="{900BF137-52E4-4A71-9307-1630A0E39238}" dt="2021-06-27T01:57:44.067" v="877"/>
          <ac:picMkLst>
            <pc:docMk/>
            <pc:sldMk cId="3534136008" sldId="558"/>
            <ac:picMk id="12" creationId="{4269A8D3-94D5-4300-BB99-C266887DC4B5}"/>
          </ac:picMkLst>
        </pc:picChg>
        <pc:picChg chg="add mod">
          <ac:chgData name="Aniket Chhabra" userId="598e0514-bef3-4e71-b6aa-f2edd6441cff" providerId="ADAL" clId="{900BF137-52E4-4A71-9307-1630A0E39238}" dt="2021-06-27T01:57:44.067" v="877"/>
          <ac:picMkLst>
            <pc:docMk/>
            <pc:sldMk cId="3534136008" sldId="558"/>
            <ac:picMk id="13" creationId="{FF1F642A-FDD0-481F-8391-E9F0DBCE0FE6}"/>
          </ac:picMkLst>
        </pc:picChg>
      </pc:sldChg>
      <pc:sldChg chg="addSp delSp modSp new add mod ord">
        <pc:chgData name="Aniket Chhabra" userId="598e0514-bef3-4e71-b6aa-f2edd6441cff" providerId="ADAL" clId="{900BF137-52E4-4A71-9307-1630A0E39238}" dt="2021-06-27T01:58:11.910" v="1083"/>
        <pc:sldMkLst>
          <pc:docMk/>
          <pc:sldMk cId="3863407001" sldId="559"/>
        </pc:sldMkLst>
        <pc:spChg chg="del">
          <ac:chgData name="Aniket Chhabra" userId="598e0514-bef3-4e71-b6aa-f2edd6441cff" providerId="ADAL" clId="{900BF137-52E4-4A71-9307-1630A0E39238}" dt="2021-06-27T01:58:00.034" v="982" actId="478"/>
          <ac:spMkLst>
            <pc:docMk/>
            <pc:sldMk cId="3863407001" sldId="559"/>
            <ac:spMk id="2" creationId="{4F61C7EF-26E4-46A9-9014-660306A334DF}"/>
          </ac:spMkLst>
        </pc:spChg>
        <pc:spChg chg="del">
          <ac:chgData name="Aniket Chhabra" userId="598e0514-bef3-4e71-b6aa-f2edd6441cff" providerId="ADAL" clId="{900BF137-52E4-4A71-9307-1630A0E39238}" dt="2021-06-27T01:58:00.034" v="982" actId="478"/>
          <ac:spMkLst>
            <pc:docMk/>
            <pc:sldMk cId="3863407001" sldId="559"/>
            <ac:spMk id="3" creationId="{4F6F7427-9132-44E8-8F53-E5B846F0CE85}"/>
          </ac:spMkLst>
        </pc:spChg>
        <pc:spChg chg="add mod">
          <ac:chgData name="Aniket Chhabra" userId="598e0514-bef3-4e71-b6aa-f2edd6441cff" providerId="ADAL" clId="{900BF137-52E4-4A71-9307-1630A0E39238}" dt="2021-06-27T01:58:01.409" v="1040" actId="948"/>
          <ac:spMkLst>
            <pc:docMk/>
            <pc:sldMk cId="3863407001" sldId="559"/>
            <ac:spMk id="4" creationId="{38AE7E93-8B22-4561-B77D-7942B5C2E4BD}"/>
          </ac:spMkLst>
        </pc:spChg>
        <pc:spChg chg="add del mod modVis">
          <ac:chgData name="Aniket Chhabra" userId="598e0514-bef3-4e71-b6aa-f2edd6441cff" providerId="ADAL" clId="{900BF137-52E4-4A71-9307-1630A0E39238}" dt="2021-06-27T01:58:00.621" v="1023"/>
          <ac:spMkLst>
            <pc:docMk/>
            <pc:sldMk cId="3863407001" sldId="559"/>
            <ac:spMk id="9" creationId="{319808E9-DEF8-40D4-A91D-F2330807D74A}"/>
          </ac:spMkLst>
        </pc:spChg>
        <pc:spChg chg="add del mod modVis">
          <ac:chgData name="Aniket Chhabra" userId="598e0514-bef3-4e71-b6aa-f2edd6441cff" providerId="ADAL" clId="{900BF137-52E4-4A71-9307-1630A0E39238}" dt="2021-06-27T01:58:01.470" v="1079"/>
          <ac:spMkLst>
            <pc:docMk/>
            <pc:sldMk cId="3863407001" sldId="559"/>
            <ac:spMk id="11" creationId="{F3CF98DF-A607-45A4-BD6C-EFAEDF8D2FA8}"/>
          </ac:spMkLst>
        </pc:spChg>
        <pc:grpChg chg="add mod">
          <ac:chgData name="Aniket Chhabra" userId="598e0514-bef3-4e71-b6aa-f2edd6441cff" providerId="ADAL" clId="{900BF137-52E4-4A71-9307-1630A0E39238}" dt="2021-06-27T01:58:00.902" v="1039" actId="27636"/>
          <ac:grpSpMkLst>
            <pc:docMk/>
            <pc:sldMk cId="3863407001" sldId="559"/>
            <ac:grpSpMk id="6" creationId="{283EC34D-3CB6-4CA5-9729-657A1EEEDAE1}"/>
          </ac:grpSpMkLst>
        </pc:grpChg>
        <pc:graphicFrameChg chg="add mod ord modVis">
          <ac:chgData name="Aniket Chhabra" userId="598e0514-bef3-4e71-b6aa-f2edd6441cff" providerId="ADAL" clId="{900BF137-52E4-4A71-9307-1630A0E39238}" dt="2021-06-27T01:58:01.473" v="1081"/>
          <ac:graphicFrameMkLst>
            <pc:docMk/>
            <pc:sldMk cId="3863407001" sldId="559"/>
            <ac:graphicFrameMk id="10" creationId="{79F49E3D-B9B6-41CA-A6B9-58747DC15EF4}"/>
          </ac:graphicFrameMkLst>
        </pc:graphicFrameChg>
        <pc:picChg chg="add mod">
          <ac:chgData name="Aniket Chhabra" userId="598e0514-bef3-4e71-b6aa-f2edd6441cff" providerId="ADAL" clId="{900BF137-52E4-4A71-9307-1630A0E39238}" dt="2021-06-27T01:58:00.902" v="1039" actId="27636"/>
          <ac:picMkLst>
            <pc:docMk/>
            <pc:sldMk cId="3863407001" sldId="559"/>
            <ac:picMk id="5" creationId="{D854E8F2-88E0-41E0-96D0-B7EF36E9CCBA}"/>
          </ac:picMkLst>
        </pc:picChg>
        <pc:picChg chg="mod">
          <ac:chgData name="Aniket Chhabra" userId="598e0514-bef3-4e71-b6aa-f2edd6441cff" providerId="ADAL" clId="{900BF137-52E4-4A71-9307-1630A0E39238}" dt="2021-06-27T01:58:00.440" v="983"/>
          <ac:picMkLst>
            <pc:docMk/>
            <pc:sldMk cId="3863407001" sldId="559"/>
            <ac:picMk id="7" creationId="{5B751B8E-1A63-491D-8FD7-4779952A3600}"/>
          </ac:picMkLst>
        </pc:picChg>
        <pc:picChg chg="mod">
          <ac:chgData name="Aniket Chhabra" userId="598e0514-bef3-4e71-b6aa-f2edd6441cff" providerId="ADAL" clId="{900BF137-52E4-4A71-9307-1630A0E39238}" dt="2021-06-27T01:58:00.440" v="983"/>
          <ac:picMkLst>
            <pc:docMk/>
            <pc:sldMk cId="3863407001" sldId="559"/>
            <ac:picMk id="8" creationId="{2B7DB1E7-43B6-479B-9D44-61100259B434}"/>
          </ac:picMkLst>
        </pc:picChg>
      </pc:sldChg>
      <pc:sldChg chg="addSp delSp modSp new add mod">
        <pc:chgData name="Aniket Chhabra" userId="598e0514-bef3-4e71-b6aa-f2edd6441cff" providerId="ADAL" clId="{900BF137-52E4-4A71-9307-1630A0E39238}" dt="2021-06-27T01:58:22.733" v="1144"/>
        <pc:sldMkLst>
          <pc:docMk/>
          <pc:sldMk cId="1479853182" sldId="560"/>
        </pc:sldMkLst>
        <pc:spChg chg="del">
          <ac:chgData name="Aniket Chhabra" userId="598e0514-bef3-4e71-b6aa-f2edd6441cff" providerId="ADAL" clId="{900BF137-52E4-4A71-9307-1630A0E39238}" dt="2021-06-27T01:58:21.685" v="1087" actId="478"/>
          <ac:spMkLst>
            <pc:docMk/>
            <pc:sldMk cId="1479853182" sldId="560"/>
            <ac:spMk id="2" creationId="{A2D70AD7-49A6-4FAB-A33F-2C460C783AF0}"/>
          </ac:spMkLst>
        </pc:spChg>
        <pc:spChg chg="del">
          <ac:chgData name="Aniket Chhabra" userId="598e0514-bef3-4e71-b6aa-f2edd6441cff" providerId="ADAL" clId="{900BF137-52E4-4A71-9307-1630A0E39238}" dt="2021-06-27T01:58:21.685" v="1087" actId="478"/>
          <ac:spMkLst>
            <pc:docMk/>
            <pc:sldMk cId="1479853182" sldId="560"/>
            <ac:spMk id="3" creationId="{57A1EF7F-5F3A-41DC-957D-FD4598F82557}"/>
          </ac:spMkLst>
        </pc:spChg>
        <pc:spChg chg="add mod">
          <ac:chgData name="Aniket Chhabra" userId="598e0514-bef3-4e71-b6aa-f2edd6441cff" providerId="ADAL" clId="{900BF137-52E4-4A71-9307-1630A0E39238}" dt="2021-06-27T01:58:22.672" v="1103" actId="948"/>
          <ac:spMkLst>
            <pc:docMk/>
            <pc:sldMk cId="1479853182" sldId="560"/>
            <ac:spMk id="5" creationId="{8BE925D7-A3C1-4861-ACD2-48400DF17EC7}"/>
          </ac:spMkLst>
        </pc:spChg>
        <pc:spChg chg="add del mod modVis">
          <ac:chgData name="Aniket Chhabra" userId="598e0514-bef3-4e71-b6aa-f2edd6441cff" providerId="ADAL" clId="{900BF137-52E4-4A71-9307-1630A0E39238}" dt="2021-06-27T01:58:22.730" v="1142"/>
          <ac:spMkLst>
            <pc:docMk/>
            <pc:sldMk cId="1479853182" sldId="560"/>
            <ac:spMk id="7" creationId="{C38FF24D-EDA1-46AF-8F11-16C86085E5B1}"/>
          </ac:spMkLst>
        </pc:spChg>
        <pc:graphicFrameChg chg="add mod modVis">
          <ac:chgData name="Aniket Chhabra" userId="598e0514-bef3-4e71-b6aa-f2edd6441cff" providerId="ADAL" clId="{900BF137-52E4-4A71-9307-1630A0E39238}" dt="2021-06-27T01:58:22.733" v="1144"/>
          <ac:graphicFrameMkLst>
            <pc:docMk/>
            <pc:sldMk cId="1479853182" sldId="560"/>
            <ac:graphicFrameMk id="4" creationId="{EB865EA7-914C-4038-8A65-18CF8673146A}"/>
          </ac:graphicFrameMkLst>
        </pc:graphicFrameChg>
        <pc:picChg chg="add mod">
          <ac:chgData name="Aniket Chhabra" userId="598e0514-bef3-4e71-b6aa-f2edd6441cff" providerId="ADAL" clId="{900BF137-52E4-4A71-9307-1630A0E39238}" dt="2021-06-27T01:58:22.089" v="1101"/>
          <ac:picMkLst>
            <pc:docMk/>
            <pc:sldMk cId="1479853182" sldId="560"/>
            <ac:picMk id="6" creationId="{03C8AA84-815E-46BB-8414-AEBFBCE68643}"/>
          </ac:picMkLst>
        </pc:picChg>
      </pc:sldChg>
      <pc:sldChg chg="addSp delSp modSp new add mod">
        <pc:chgData name="Aniket Chhabra" userId="598e0514-bef3-4e71-b6aa-f2edd6441cff" providerId="ADAL" clId="{900BF137-52E4-4A71-9307-1630A0E39238}" dt="2021-06-27T01:58:38.295" v="1247"/>
        <pc:sldMkLst>
          <pc:docMk/>
          <pc:sldMk cId="1171963053" sldId="561"/>
        </pc:sldMkLst>
        <pc:spChg chg="del">
          <ac:chgData name="Aniket Chhabra" userId="598e0514-bef3-4e71-b6aa-f2edd6441cff" providerId="ADAL" clId="{900BF137-52E4-4A71-9307-1630A0E39238}" dt="2021-06-27T01:58:36.667" v="1148" actId="478"/>
          <ac:spMkLst>
            <pc:docMk/>
            <pc:sldMk cId="1171963053" sldId="561"/>
            <ac:spMk id="2" creationId="{3C5F9655-4D89-4D6C-AE77-681B031BE009}"/>
          </ac:spMkLst>
        </pc:spChg>
        <pc:spChg chg="del">
          <ac:chgData name="Aniket Chhabra" userId="598e0514-bef3-4e71-b6aa-f2edd6441cff" providerId="ADAL" clId="{900BF137-52E4-4A71-9307-1630A0E39238}" dt="2021-06-27T01:58:36.667" v="1148" actId="478"/>
          <ac:spMkLst>
            <pc:docMk/>
            <pc:sldMk cId="1171963053" sldId="561"/>
            <ac:spMk id="3" creationId="{1235311D-DC70-4DBB-B864-143D9511B1E8}"/>
          </ac:spMkLst>
        </pc:spChg>
        <pc:spChg chg="add mod">
          <ac:chgData name="Aniket Chhabra" userId="598e0514-bef3-4e71-b6aa-f2edd6441cff" providerId="ADAL" clId="{900BF137-52E4-4A71-9307-1630A0E39238}" dt="2021-06-27T01:58:38.221" v="1206" actId="948"/>
          <ac:spMkLst>
            <pc:docMk/>
            <pc:sldMk cId="1171963053" sldId="561"/>
            <ac:spMk id="4" creationId="{B0AEDD23-477F-44C0-A170-5C7BDCB90DCB}"/>
          </ac:spMkLst>
        </pc:spChg>
        <pc:spChg chg="add del mod modVis">
          <ac:chgData name="Aniket Chhabra" userId="598e0514-bef3-4e71-b6aa-f2edd6441cff" providerId="ADAL" clId="{900BF137-52E4-4A71-9307-1630A0E39238}" dt="2021-06-27T01:58:37.235" v="1189"/>
          <ac:spMkLst>
            <pc:docMk/>
            <pc:sldMk cId="1171963053" sldId="561"/>
            <ac:spMk id="6" creationId="{71495961-AF79-4D91-A65E-B3B3F0FBEDE6}"/>
          </ac:spMkLst>
        </pc:spChg>
        <pc:spChg chg="add del mod modVis">
          <ac:chgData name="Aniket Chhabra" userId="598e0514-bef3-4e71-b6aa-f2edd6441cff" providerId="ADAL" clId="{900BF137-52E4-4A71-9307-1630A0E39238}" dt="2021-06-27T01:58:38.291" v="1245"/>
          <ac:spMkLst>
            <pc:docMk/>
            <pc:sldMk cId="1171963053" sldId="561"/>
            <ac:spMk id="8" creationId="{44A85729-2A4C-47F3-9A4D-245FB00CDC48}"/>
          </ac:spMkLst>
        </pc:spChg>
        <pc:graphicFrameChg chg="add mod ord modVis">
          <ac:chgData name="Aniket Chhabra" userId="598e0514-bef3-4e71-b6aa-f2edd6441cff" providerId="ADAL" clId="{900BF137-52E4-4A71-9307-1630A0E39238}" dt="2021-06-27T01:58:38.295" v="1247"/>
          <ac:graphicFrameMkLst>
            <pc:docMk/>
            <pc:sldMk cId="1171963053" sldId="561"/>
            <ac:graphicFrameMk id="7" creationId="{85FAFAFD-0C91-4718-B813-4092CB366B95}"/>
          </ac:graphicFrameMkLst>
        </pc:graphicFrameChg>
        <pc:picChg chg="add mod">
          <ac:chgData name="Aniket Chhabra" userId="598e0514-bef3-4e71-b6aa-f2edd6441cff" providerId="ADAL" clId="{900BF137-52E4-4A71-9307-1630A0E39238}" dt="2021-06-27T01:58:37.083" v="1149"/>
          <ac:picMkLst>
            <pc:docMk/>
            <pc:sldMk cId="1171963053" sldId="561"/>
            <ac:picMk id="5" creationId="{49B2CDC9-F061-4EF9-B09C-F2115ADBF2B0}"/>
          </ac:picMkLst>
        </pc:picChg>
      </pc:sldChg>
      <pc:sldChg chg="addSp delSp modSp new add mod">
        <pc:chgData name="Aniket Chhabra" userId="598e0514-bef3-4e71-b6aa-f2edd6441cff" providerId="ADAL" clId="{900BF137-52E4-4A71-9307-1630A0E39238}" dt="2021-06-27T01:59:10.735" v="1483"/>
        <pc:sldMkLst>
          <pc:docMk/>
          <pc:sldMk cId="4092781052" sldId="562"/>
        </pc:sldMkLst>
        <pc:spChg chg="del">
          <ac:chgData name="Aniket Chhabra" userId="598e0514-bef3-4e71-b6aa-f2edd6441cff" providerId="ADAL" clId="{900BF137-52E4-4A71-9307-1630A0E39238}" dt="2021-06-27T01:58:54.936" v="1251" actId="478"/>
          <ac:spMkLst>
            <pc:docMk/>
            <pc:sldMk cId="4092781052" sldId="562"/>
            <ac:spMk id="2" creationId="{B077E4DF-28DB-4D04-AD71-CD4A80CA6456}"/>
          </ac:spMkLst>
        </pc:spChg>
        <pc:spChg chg="del">
          <ac:chgData name="Aniket Chhabra" userId="598e0514-bef3-4e71-b6aa-f2edd6441cff" providerId="ADAL" clId="{900BF137-52E4-4A71-9307-1630A0E39238}" dt="2021-06-27T01:58:54.936" v="1251" actId="478"/>
          <ac:spMkLst>
            <pc:docMk/>
            <pc:sldMk cId="4092781052" sldId="562"/>
            <ac:spMk id="3" creationId="{275AB722-015E-461F-96F0-AB0F069618D0}"/>
          </ac:spMkLst>
        </pc:spChg>
        <pc:spChg chg="add mod">
          <ac:chgData name="Aniket Chhabra" userId="598e0514-bef3-4e71-b6aa-f2edd6441cff" providerId="ADAL" clId="{900BF137-52E4-4A71-9307-1630A0E39238}" dt="2021-06-27T01:59:10.672" v="1442" actId="948"/>
          <ac:spMkLst>
            <pc:docMk/>
            <pc:sldMk cId="4092781052" sldId="562"/>
            <ac:spMk id="5" creationId="{08CB3DC3-6C82-4C7B-99C1-3E514F42ADAF}"/>
          </ac:spMkLst>
        </pc:spChg>
        <pc:spChg chg="add mod">
          <ac:chgData name="Aniket Chhabra" userId="598e0514-bef3-4e71-b6aa-f2edd6441cff" providerId="ADAL" clId="{900BF137-52E4-4A71-9307-1630A0E39238}" dt="2021-06-27T01:58:57.766" v="1309" actId="1076"/>
          <ac:spMkLst>
            <pc:docMk/>
            <pc:sldMk cId="4092781052" sldId="562"/>
            <ac:spMk id="10" creationId="{0F106962-270B-4C29-806E-5AE44097DDE1}"/>
          </ac:spMkLst>
        </pc:spChg>
        <pc:spChg chg="add mod">
          <ac:chgData name="Aniket Chhabra" userId="598e0514-bef3-4e71-b6aa-f2edd6441cff" providerId="ADAL" clId="{900BF137-52E4-4A71-9307-1630A0E39238}" dt="2021-06-27T01:58:57.766" v="1309" actId="1076"/>
          <ac:spMkLst>
            <pc:docMk/>
            <pc:sldMk cId="4092781052" sldId="562"/>
            <ac:spMk id="11" creationId="{957F0A1A-F5FD-42B6-870B-3922C579E77B}"/>
          </ac:spMkLst>
        </pc:spChg>
        <pc:spChg chg="add mod">
          <ac:chgData name="Aniket Chhabra" userId="598e0514-bef3-4e71-b6aa-f2edd6441cff" providerId="ADAL" clId="{900BF137-52E4-4A71-9307-1630A0E39238}" dt="2021-06-27T01:58:57.766" v="1309" actId="1076"/>
          <ac:spMkLst>
            <pc:docMk/>
            <pc:sldMk cId="4092781052" sldId="562"/>
            <ac:spMk id="12" creationId="{164E82F3-F1F0-4D58-AB1B-3CF3CD0E633F}"/>
          </ac:spMkLst>
        </pc:spChg>
        <pc:spChg chg="add del mod modVis">
          <ac:chgData name="Aniket Chhabra" userId="598e0514-bef3-4e71-b6aa-f2edd6441cff" providerId="ADAL" clId="{900BF137-52E4-4A71-9307-1630A0E39238}" dt="2021-06-27T01:58:55.978" v="1306"/>
          <ac:spMkLst>
            <pc:docMk/>
            <pc:sldMk cId="4092781052" sldId="562"/>
            <ac:spMk id="14" creationId="{D1DAC043-2AB7-48B5-8D10-418689C29EEF}"/>
          </ac:spMkLst>
        </pc:spChg>
        <pc:spChg chg="add del mod modVis">
          <ac:chgData name="Aniket Chhabra" userId="598e0514-bef3-4e71-b6aa-f2edd6441cff" providerId="ADAL" clId="{900BF137-52E4-4A71-9307-1630A0E39238}" dt="2021-06-27T01:58:58.400" v="1349"/>
          <ac:spMkLst>
            <pc:docMk/>
            <pc:sldMk cId="4092781052" sldId="562"/>
            <ac:spMk id="15" creationId="{F7267FE1-01C0-4457-92F3-61991B176901}"/>
          </ac:spMkLst>
        </pc:spChg>
        <pc:spChg chg="add del mod modVis">
          <ac:chgData name="Aniket Chhabra" userId="598e0514-bef3-4e71-b6aa-f2edd6441cff" providerId="ADAL" clId="{900BF137-52E4-4A71-9307-1630A0E39238}" dt="2021-06-27T01:59:03.584" v="1392"/>
          <ac:spMkLst>
            <pc:docMk/>
            <pc:sldMk cId="4092781052" sldId="562"/>
            <ac:spMk id="16" creationId="{6B2373B7-7A21-4C00-BA0E-EBEBF5978E38}"/>
          </ac:spMkLst>
        </pc:spChg>
        <pc:spChg chg="add del mod modVis">
          <ac:chgData name="Aniket Chhabra" userId="598e0514-bef3-4e71-b6aa-f2edd6441cff" providerId="ADAL" clId="{900BF137-52E4-4A71-9307-1630A0E39238}" dt="2021-06-27T01:59:05.758" v="1435"/>
          <ac:spMkLst>
            <pc:docMk/>
            <pc:sldMk cId="4092781052" sldId="562"/>
            <ac:spMk id="17" creationId="{FBE7B776-1EF1-4B0F-A40D-D8EB89BCB643}"/>
          </ac:spMkLst>
        </pc:spChg>
        <pc:spChg chg="add del mod modVis">
          <ac:chgData name="Aniket Chhabra" userId="598e0514-bef3-4e71-b6aa-f2edd6441cff" providerId="ADAL" clId="{900BF137-52E4-4A71-9307-1630A0E39238}" dt="2021-06-27T01:59:10.732" v="1481"/>
          <ac:spMkLst>
            <pc:docMk/>
            <pc:sldMk cId="4092781052" sldId="562"/>
            <ac:spMk id="18" creationId="{A30B4330-B17C-4E37-9FC5-30CA1993E335}"/>
          </ac:spMkLst>
        </pc:spChg>
        <pc:graphicFrameChg chg="add mod modVis">
          <ac:chgData name="Aniket Chhabra" userId="598e0514-bef3-4e71-b6aa-f2edd6441cff" providerId="ADAL" clId="{900BF137-52E4-4A71-9307-1630A0E39238}" dt="2021-06-27T01:59:10.735" v="1483"/>
          <ac:graphicFrameMkLst>
            <pc:docMk/>
            <pc:sldMk cId="4092781052" sldId="562"/>
            <ac:graphicFrameMk id="4" creationId="{998359D9-7F49-4497-97EF-40ED3E7F6E1F}"/>
          </ac:graphicFrameMkLst>
        </pc:graphicFrameChg>
        <pc:picChg chg="add mod">
          <ac:chgData name="Aniket Chhabra" userId="598e0514-bef3-4e71-b6aa-f2edd6441cff" providerId="ADAL" clId="{900BF137-52E4-4A71-9307-1630A0E39238}" dt="2021-06-27T01:58:57.766" v="1309" actId="1076"/>
          <ac:picMkLst>
            <pc:docMk/>
            <pc:sldMk cId="4092781052" sldId="562"/>
            <ac:picMk id="6" creationId="{0EE2EA13-486E-4188-BA47-87CF83FAE4B5}"/>
          </ac:picMkLst>
        </pc:picChg>
        <pc:picChg chg="add mod">
          <ac:chgData name="Aniket Chhabra" userId="598e0514-bef3-4e71-b6aa-f2edd6441cff" providerId="ADAL" clId="{900BF137-52E4-4A71-9307-1630A0E39238}" dt="2021-06-27T01:58:57.766" v="1309" actId="1076"/>
          <ac:picMkLst>
            <pc:docMk/>
            <pc:sldMk cId="4092781052" sldId="562"/>
            <ac:picMk id="7" creationId="{D565B36D-6C7C-4EDA-B69C-17EC0DE898E5}"/>
          </ac:picMkLst>
        </pc:picChg>
        <pc:picChg chg="add mod">
          <ac:chgData name="Aniket Chhabra" userId="598e0514-bef3-4e71-b6aa-f2edd6441cff" providerId="ADAL" clId="{900BF137-52E4-4A71-9307-1630A0E39238}" dt="2021-06-27T01:58:57.766" v="1309" actId="1076"/>
          <ac:picMkLst>
            <pc:docMk/>
            <pc:sldMk cId="4092781052" sldId="562"/>
            <ac:picMk id="8" creationId="{DEEDD156-26E6-442D-9F90-94C01A915177}"/>
          </ac:picMkLst>
        </pc:picChg>
        <pc:picChg chg="add mod">
          <ac:chgData name="Aniket Chhabra" userId="598e0514-bef3-4e71-b6aa-f2edd6441cff" providerId="ADAL" clId="{900BF137-52E4-4A71-9307-1630A0E39238}" dt="2021-06-27T01:58:57.766" v="1309" actId="1076"/>
          <ac:picMkLst>
            <pc:docMk/>
            <pc:sldMk cId="4092781052" sldId="562"/>
            <ac:picMk id="9" creationId="{E9645533-3D5A-449D-8326-71F12CC520EF}"/>
          </ac:picMkLst>
        </pc:picChg>
        <pc:picChg chg="add mod">
          <ac:chgData name="Aniket Chhabra" userId="598e0514-bef3-4e71-b6aa-f2edd6441cff" providerId="ADAL" clId="{900BF137-52E4-4A71-9307-1630A0E39238}" dt="2021-06-27T01:58:57.766" v="1309" actId="1076"/>
          <ac:picMkLst>
            <pc:docMk/>
            <pc:sldMk cId="4092781052" sldId="562"/>
            <ac:picMk id="13" creationId="{674BF8CC-AA43-44E0-A2A5-D4D09B13CD28}"/>
          </ac:picMkLst>
        </pc:picChg>
      </pc:sldChg>
      <pc:sldChg chg="addSp delSp modSp new add mod">
        <pc:chgData name="Aniket Chhabra" userId="598e0514-bef3-4e71-b6aa-f2edd6441cff" providerId="ADAL" clId="{900BF137-52E4-4A71-9307-1630A0E39238}" dt="2021-06-27T01:59:37.788" v="1631" actId="1076"/>
        <pc:sldMkLst>
          <pc:docMk/>
          <pc:sldMk cId="2300218665" sldId="563"/>
        </pc:sldMkLst>
        <pc:spChg chg="del">
          <ac:chgData name="Aniket Chhabra" userId="598e0514-bef3-4e71-b6aa-f2edd6441cff" providerId="ADAL" clId="{900BF137-52E4-4A71-9307-1630A0E39238}" dt="2021-06-27T01:59:25.796" v="1487" actId="478"/>
          <ac:spMkLst>
            <pc:docMk/>
            <pc:sldMk cId="2300218665" sldId="563"/>
            <ac:spMk id="2" creationId="{C6C462FF-D617-492D-B899-E3E76EBC45B1}"/>
          </ac:spMkLst>
        </pc:spChg>
        <pc:spChg chg="del">
          <ac:chgData name="Aniket Chhabra" userId="598e0514-bef3-4e71-b6aa-f2edd6441cff" providerId="ADAL" clId="{900BF137-52E4-4A71-9307-1630A0E39238}" dt="2021-06-27T01:59:25.796" v="1487" actId="478"/>
          <ac:spMkLst>
            <pc:docMk/>
            <pc:sldMk cId="2300218665" sldId="563"/>
            <ac:spMk id="3" creationId="{46D13EAC-43FE-4606-A5BB-B18A041AC1C4}"/>
          </ac:spMkLst>
        </pc:spChg>
        <pc:spChg chg="add mod">
          <ac:chgData name="Aniket Chhabra" userId="598e0514-bef3-4e71-b6aa-f2edd6441cff" providerId="ADAL" clId="{900BF137-52E4-4A71-9307-1630A0E39238}" dt="2021-06-27T01:59:35.818" v="1589" actId="948"/>
          <ac:spMkLst>
            <pc:docMk/>
            <pc:sldMk cId="2300218665" sldId="563"/>
            <ac:spMk id="5" creationId="{2D590779-9EEB-4998-88EA-C96D778C64A1}"/>
          </ac:spMkLst>
        </pc:spChg>
        <pc:spChg chg="add mod">
          <ac:chgData name="Aniket Chhabra" userId="598e0514-bef3-4e71-b6aa-f2edd6441cff" providerId="ADAL" clId="{900BF137-52E4-4A71-9307-1630A0E39238}" dt="2021-06-27T01:59:28.431" v="1545" actId="1076"/>
          <ac:spMkLst>
            <pc:docMk/>
            <pc:sldMk cId="2300218665" sldId="563"/>
            <ac:spMk id="6" creationId="{D1F1F2F1-85B2-4194-AC4F-69D21F51735E}"/>
          </ac:spMkLst>
        </pc:spChg>
        <pc:spChg chg="add mod">
          <ac:chgData name="Aniket Chhabra" userId="598e0514-bef3-4e71-b6aa-f2edd6441cff" providerId="ADAL" clId="{900BF137-52E4-4A71-9307-1630A0E39238}" dt="2021-06-27T01:59:37.788" v="1631" actId="1076"/>
          <ac:spMkLst>
            <pc:docMk/>
            <pc:sldMk cId="2300218665" sldId="563"/>
            <ac:spMk id="7" creationId="{E3C9DFB8-9EFE-4AB4-BE0C-8EEE3F7B463C}"/>
          </ac:spMkLst>
        </pc:spChg>
        <pc:spChg chg="add del mod modVis">
          <ac:chgData name="Aniket Chhabra" userId="598e0514-bef3-4e71-b6aa-f2edd6441cff" providerId="ADAL" clId="{900BF137-52E4-4A71-9307-1630A0E39238}" dt="2021-06-27T01:59:26.946" v="1542"/>
          <ac:spMkLst>
            <pc:docMk/>
            <pc:sldMk cId="2300218665" sldId="563"/>
            <ac:spMk id="11" creationId="{18435D37-8AA7-4B3C-BB3F-F437EF3DA272}"/>
          </ac:spMkLst>
        </pc:spChg>
        <pc:spChg chg="add del mod modVis">
          <ac:chgData name="Aniket Chhabra" userId="598e0514-bef3-4e71-b6aa-f2edd6441cff" providerId="ADAL" clId="{900BF137-52E4-4A71-9307-1630A0E39238}" dt="2021-06-27T01:59:29.072" v="1585"/>
          <ac:spMkLst>
            <pc:docMk/>
            <pc:sldMk cId="2300218665" sldId="563"/>
            <ac:spMk id="12" creationId="{03C873FA-594C-4EAC-AF13-420D87ACB913}"/>
          </ac:spMkLst>
        </pc:spChg>
        <pc:spChg chg="add del mod modVis">
          <ac:chgData name="Aniket Chhabra" userId="598e0514-bef3-4e71-b6aa-f2edd6441cff" providerId="ADAL" clId="{900BF137-52E4-4A71-9307-1630A0E39238}" dt="2021-06-27T01:59:35.866" v="1628"/>
          <ac:spMkLst>
            <pc:docMk/>
            <pc:sldMk cId="2300218665" sldId="563"/>
            <ac:spMk id="13" creationId="{4173FDE9-D4C3-4320-9319-4CE2E5C7E90E}"/>
          </ac:spMkLst>
        </pc:spChg>
        <pc:graphicFrameChg chg="add mod modVis">
          <ac:chgData name="Aniket Chhabra" userId="598e0514-bef3-4e71-b6aa-f2edd6441cff" providerId="ADAL" clId="{900BF137-52E4-4A71-9307-1630A0E39238}" dt="2021-06-27T01:59:35.869" v="1630"/>
          <ac:graphicFrameMkLst>
            <pc:docMk/>
            <pc:sldMk cId="2300218665" sldId="563"/>
            <ac:graphicFrameMk id="4" creationId="{AA3264AA-A0B7-41D7-8879-C55FED11F5D7}"/>
          </ac:graphicFrameMkLst>
        </pc:graphicFrameChg>
        <pc:picChg chg="add mod">
          <ac:chgData name="Aniket Chhabra" userId="598e0514-bef3-4e71-b6aa-f2edd6441cff" providerId="ADAL" clId="{900BF137-52E4-4A71-9307-1630A0E39238}" dt="2021-06-27T01:59:28.431" v="1545" actId="1076"/>
          <ac:picMkLst>
            <pc:docMk/>
            <pc:sldMk cId="2300218665" sldId="563"/>
            <ac:picMk id="8" creationId="{B754DCD5-E2FA-4911-B26F-69EC67C3A3B2}"/>
          </ac:picMkLst>
        </pc:picChg>
        <pc:picChg chg="add mod">
          <ac:chgData name="Aniket Chhabra" userId="598e0514-bef3-4e71-b6aa-f2edd6441cff" providerId="ADAL" clId="{900BF137-52E4-4A71-9307-1630A0E39238}" dt="2021-06-27T01:59:28.431" v="1545" actId="1076"/>
          <ac:picMkLst>
            <pc:docMk/>
            <pc:sldMk cId="2300218665" sldId="563"/>
            <ac:picMk id="9" creationId="{BC6567E5-718B-4A0F-88A0-6F4D37336E13}"/>
          </ac:picMkLst>
        </pc:picChg>
        <pc:picChg chg="add mod">
          <ac:chgData name="Aniket Chhabra" userId="598e0514-bef3-4e71-b6aa-f2edd6441cff" providerId="ADAL" clId="{900BF137-52E4-4A71-9307-1630A0E39238}" dt="2021-06-27T01:59:28.431" v="1545" actId="1076"/>
          <ac:picMkLst>
            <pc:docMk/>
            <pc:sldMk cId="2300218665" sldId="563"/>
            <ac:picMk id="10" creationId="{B9AEE72A-4F21-44A3-98DC-75ED1CE1E255}"/>
          </ac:picMkLst>
        </pc:picChg>
      </pc:sldChg>
      <pc:sldChg chg="addSp delSp modSp new add mod">
        <pc:chgData name="Aniket Chhabra" userId="598e0514-bef3-4e71-b6aa-f2edd6441cff" providerId="ADAL" clId="{900BF137-52E4-4A71-9307-1630A0E39238}" dt="2021-06-27T02:00:11.365" v="1696"/>
        <pc:sldMkLst>
          <pc:docMk/>
          <pc:sldMk cId="1095792758" sldId="564"/>
        </pc:sldMkLst>
        <pc:spChg chg="del">
          <ac:chgData name="Aniket Chhabra" userId="598e0514-bef3-4e71-b6aa-f2edd6441cff" providerId="ADAL" clId="{900BF137-52E4-4A71-9307-1630A0E39238}" dt="2021-06-27T02:00:10.299" v="1639" actId="478"/>
          <ac:spMkLst>
            <pc:docMk/>
            <pc:sldMk cId="1095792758" sldId="564"/>
            <ac:spMk id="2" creationId="{C6B73FC2-4242-43E7-A5CC-852BFA5BACF1}"/>
          </ac:spMkLst>
        </pc:spChg>
        <pc:spChg chg="del">
          <ac:chgData name="Aniket Chhabra" userId="598e0514-bef3-4e71-b6aa-f2edd6441cff" providerId="ADAL" clId="{900BF137-52E4-4A71-9307-1630A0E39238}" dt="2021-06-27T02:00:10.299" v="1639" actId="478"/>
          <ac:spMkLst>
            <pc:docMk/>
            <pc:sldMk cId="1095792758" sldId="564"/>
            <ac:spMk id="3" creationId="{515AC71A-3963-4FBB-9CCA-7FE34CF1DEBD}"/>
          </ac:spMkLst>
        </pc:spChg>
        <pc:spChg chg="add del mod">
          <ac:chgData name="Aniket Chhabra" userId="598e0514-bef3-4e71-b6aa-f2edd6441cff" providerId="ADAL" clId="{900BF137-52E4-4A71-9307-1630A0E39238}" dt="2021-06-27T02:00:07.027" v="1638"/>
          <ac:spMkLst>
            <pc:docMk/>
            <pc:sldMk cId="1095792758" sldId="564"/>
            <ac:spMk id="4" creationId="{8418F637-1310-471F-AB4A-82DC52D18710}"/>
          </ac:spMkLst>
        </pc:spChg>
        <pc:spChg chg="add del mod">
          <ac:chgData name="Aniket Chhabra" userId="598e0514-bef3-4e71-b6aa-f2edd6441cff" providerId="ADAL" clId="{900BF137-52E4-4A71-9307-1630A0E39238}" dt="2021-06-27T02:00:07.027" v="1638"/>
          <ac:spMkLst>
            <pc:docMk/>
            <pc:sldMk cId="1095792758" sldId="564"/>
            <ac:spMk id="6" creationId="{83A83039-40AB-4172-BD5B-76A71CFAD1B9}"/>
          </ac:spMkLst>
        </pc:spChg>
        <pc:spChg chg="add del mod">
          <ac:chgData name="Aniket Chhabra" userId="598e0514-bef3-4e71-b6aa-f2edd6441cff" providerId="ADAL" clId="{900BF137-52E4-4A71-9307-1630A0E39238}" dt="2021-06-27T02:00:07.027" v="1638"/>
          <ac:spMkLst>
            <pc:docMk/>
            <pc:sldMk cId="1095792758" sldId="564"/>
            <ac:spMk id="10" creationId="{C8D094A3-8C09-42BB-8C36-C1DA7B72D52E}"/>
          </ac:spMkLst>
        </pc:spChg>
        <pc:spChg chg="add mod">
          <ac:chgData name="Aniket Chhabra" userId="598e0514-bef3-4e71-b6aa-f2edd6441cff" providerId="ADAL" clId="{900BF137-52E4-4A71-9307-1630A0E39238}" dt="2021-06-27T02:00:11.271" v="1655" actId="948"/>
          <ac:spMkLst>
            <pc:docMk/>
            <pc:sldMk cId="1095792758" sldId="564"/>
            <ac:spMk id="13" creationId="{BBDD49AE-8992-40C7-AE8C-B43F4E95D969}"/>
          </ac:spMkLst>
        </pc:spChg>
        <pc:spChg chg="add mod">
          <ac:chgData name="Aniket Chhabra" userId="598e0514-bef3-4e71-b6aa-f2edd6441cff" providerId="ADAL" clId="{900BF137-52E4-4A71-9307-1630A0E39238}" dt="2021-06-27T02:00:10.649" v="1653"/>
          <ac:spMkLst>
            <pc:docMk/>
            <pc:sldMk cId="1095792758" sldId="564"/>
            <ac:spMk id="15" creationId="{2AACAA24-E771-457B-B1C7-F73C00123FBA}"/>
          </ac:spMkLst>
        </pc:spChg>
        <pc:spChg chg="add mod">
          <ac:chgData name="Aniket Chhabra" userId="598e0514-bef3-4e71-b6aa-f2edd6441cff" providerId="ADAL" clId="{900BF137-52E4-4A71-9307-1630A0E39238}" dt="2021-06-27T02:00:10.649" v="1653"/>
          <ac:spMkLst>
            <pc:docMk/>
            <pc:sldMk cId="1095792758" sldId="564"/>
            <ac:spMk id="19" creationId="{B9B1DF8A-9888-4DA2-97DF-4CD48951B35C}"/>
          </ac:spMkLst>
        </pc:spChg>
        <pc:spChg chg="add del mod modVis">
          <ac:chgData name="Aniket Chhabra" userId="598e0514-bef3-4e71-b6aa-f2edd6441cff" providerId="ADAL" clId="{900BF137-52E4-4A71-9307-1630A0E39238}" dt="2021-06-27T02:00:11.361" v="1694"/>
          <ac:spMkLst>
            <pc:docMk/>
            <pc:sldMk cId="1095792758" sldId="564"/>
            <ac:spMk id="21" creationId="{A83B2A17-CFA0-4435-B16A-3CDEF2F75349}"/>
          </ac:spMkLst>
        </pc:spChg>
        <pc:graphicFrameChg chg="add mod modVis">
          <ac:chgData name="Aniket Chhabra" userId="598e0514-bef3-4e71-b6aa-f2edd6441cff" providerId="ADAL" clId="{900BF137-52E4-4A71-9307-1630A0E39238}" dt="2021-06-27T02:00:11.365" v="1696"/>
          <ac:graphicFrameMkLst>
            <pc:docMk/>
            <pc:sldMk cId="1095792758" sldId="564"/>
            <ac:graphicFrameMk id="12" creationId="{442B776E-2EB0-4859-9A9E-9B5640C64DD8}"/>
          </ac:graphicFrameMkLst>
        </pc:graphicFrameChg>
        <pc:picChg chg="add del mod">
          <ac:chgData name="Aniket Chhabra" userId="598e0514-bef3-4e71-b6aa-f2edd6441cff" providerId="ADAL" clId="{900BF137-52E4-4A71-9307-1630A0E39238}" dt="2021-06-27T02:00:07.027" v="1638"/>
          <ac:picMkLst>
            <pc:docMk/>
            <pc:sldMk cId="1095792758" sldId="564"/>
            <ac:picMk id="5" creationId="{F57AD42D-E340-4D7F-8F18-AA04A2239D3A}"/>
          </ac:picMkLst>
        </pc:picChg>
        <pc:picChg chg="add del mod">
          <ac:chgData name="Aniket Chhabra" userId="598e0514-bef3-4e71-b6aa-f2edd6441cff" providerId="ADAL" clId="{900BF137-52E4-4A71-9307-1630A0E39238}" dt="2021-06-27T02:00:07.027" v="1638"/>
          <ac:picMkLst>
            <pc:docMk/>
            <pc:sldMk cId="1095792758" sldId="564"/>
            <ac:picMk id="7" creationId="{E2741298-046B-4467-AAAA-EEBFA5FD9022}"/>
          </ac:picMkLst>
        </pc:picChg>
        <pc:picChg chg="add del mod">
          <ac:chgData name="Aniket Chhabra" userId="598e0514-bef3-4e71-b6aa-f2edd6441cff" providerId="ADAL" clId="{900BF137-52E4-4A71-9307-1630A0E39238}" dt="2021-06-27T02:00:07.027" v="1638"/>
          <ac:picMkLst>
            <pc:docMk/>
            <pc:sldMk cId="1095792758" sldId="564"/>
            <ac:picMk id="8" creationId="{75BFA8AC-7ACE-4C3B-93CE-1C6A398249E7}"/>
          </ac:picMkLst>
        </pc:picChg>
        <pc:picChg chg="add del mod">
          <ac:chgData name="Aniket Chhabra" userId="598e0514-bef3-4e71-b6aa-f2edd6441cff" providerId="ADAL" clId="{900BF137-52E4-4A71-9307-1630A0E39238}" dt="2021-06-27T02:00:07.027" v="1638"/>
          <ac:picMkLst>
            <pc:docMk/>
            <pc:sldMk cId="1095792758" sldId="564"/>
            <ac:picMk id="9" creationId="{7A86925D-1719-4B18-B706-070E665DF180}"/>
          </ac:picMkLst>
        </pc:picChg>
        <pc:picChg chg="add del mod">
          <ac:chgData name="Aniket Chhabra" userId="598e0514-bef3-4e71-b6aa-f2edd6441cff" providerId="ADAL" clId="{900BF137-52E4-4A71-9307-1630A0E39238}" dt="2021-06-27T02:00:07.027" v="1638"/>
          <ac:picMkLst>
            <pc:docMk/>
            <pc:sldMk cId="1095792758" sldId="564"/>
            <ac:picMk id="11" creationId="{BB760EE7-43B7-4CBE-92A9-9A2FAD193665}"/>
          </ac:picMkLst>
        </pc:picChg>
        <pc:picChg chg="add mod">
          <ac:chgData name="Aniket Chhabra" userId="598e0514-bef3-4e71-b6aa-f2edd6441cff" providerId="ADAL" clId="{900BF137-52E4-4A71-9307-1630A0E39238}" dt="2021-06-27T02:00:10.649" v="1653"/>
          <ac:picMkLst>
            <pc:docMk/>
            <pc:sldMk cId="1095792758" sldId="564"/>
            <ac:picMk id="14" creationId="{9522DE08-A1CC-47E4-92FF-A452276C9DCD}"/>
          </ac:picMkLst>
        </pc:picChg>
        <pc:picChg chg="add mod">
          <ac:chgData name="Aniket Chhabra" userId="598e0514-bef3-4e71-b6aa-f2edd6441cff" providerId="ADAL" clId="{900BF137-52E4-4A71-9307-1630A0E39238}" dt="2021-06-27T02:00:10.649" v="1653"/>
          <ac:picMkLst>
            <pc:docMk/>
            <pc:sldMk cId="1095792758" sldId="564"/>
            <ac:picMk id="16" creationId="{52BF7318-6921-4355-A56C-05BBB1C97B52}"/>
          </ac:picMkLst>
        </pc:picChg>
        <pc:picChg chg="add mod">
          <ac:chgData name="Aniket Chhabra" userId="598e0514-bef3-4e71-b6aa-f2edd6441cff" providerId="ADAL" clId="{900BF137-52E4-4A71-9307-1630A0E39238}" dt="2021-06-27T02:00:10.649" v="1653"/>
          <ac:picMkLst>
            <pc:docMk/>
            <pc:sldMk cId="1095792758" sldId="564"/>
            <ac:picMk id="17" creationId="{D57463B5-064F-445D-A7E5-3D6EB440B831}"/>
          </ac:picMkLst>
        </pc:picChg>
        <pc:picChg chg="add mod">
          <ac:chgData name="Aniket Chhabra" userId="598e0514-bef3-4e71-b6aa-f2edd6441cff" providerId="ADAL" clId="{900BF137-52E4-4A71-9307-1630A0E39238}" dt="2021-06-27T02:00:10.649" v="1653"/>
          <ac:picMkLst>
            <pc:docMk/>
            <pc:sldMk cId="1095792758" sldId="564"/>
            <ac:picMk id="18" creationId="{1B73B89F-23C5-496B-ABF5-040876023BFF}"/>
          </ac:picMkLst>
        </pc:picChg>
        <pc:picChg chg="add mod">
          <ac:chgData name="Aniket Chhabra" userId="598e0514-bef3-4e71-b6aa-f2edd6441cff" providerId="ADAL" clId="{900BF137-52E4-4A71-9307-1630A0E39238}" dt="2021-06-27T02:00:10.649" v="1653"/>
          <ac:picMkLst>
            <pc:docMk/>
            <pc:sldMk cId="1095792758" sldId="564"/>
            <ac:picMk id="20" creationId="{AB7D2417-80A1-48BB-A3D2-BDDBB5B4F305}"/>
          </ac:picMkLst>
        </pc:picChg>
      </pc:sldChg>
      <pc:sldChg chg="addSp delSp modSp new add mod">
        <pc:chgData name="Aniket Chhabra" userId="598e0514-bef3-4e71-b6aa-f2edd6441cff" providerId="ADAL" clId="{900BF137-52E4-4A71-9307-1630A0E39238}" dt="2021-06-27T02:00:32.920" v="1843" actId="1076"/>
        <pc:sldMkLst>
          <pc:docMk/>
          <pc:sldMk cId="1818286724" sldId="565"/>
        </pc:sldMkLst>
        <pc:spChg chg="del">
          <ac:chgData name="Aniket Chhabra" userId="598e0514-bef3-4e71-b6aa-f2edd6441cff" providerId="ADAL" clId="{900BF137-52E4-4A71-9307-1630A0E39238}" dt="2021-06-27T02:00:26.475" v="1700" actId="478"/>
          <ac:spMkLst>
            <pc:docMk/>
            <pc:sldMk cId="1818286724" sldId="565"/>
            <ac:spMk id="2" creationId="{31B1F084-F1C6-4AD5-9E0B-5407310BE9D1}"/>
          </ac:spMkLst>
        </pc:spChg>
        <pc:spChg chg="del">
          <ac:chgData name="Aniket Chhabra" userId="598e0514-bef3-4e71-b6aa-f2edd6441cff" providerId="ADAL" clId="{900BF137-52E4-4A71-9307-1630A0E39238}" dt="2021-06-27T02:00:26.475" v="1700" actId="478"/>
          <ac:spMkLst>
            <pc:docMk/>
            <pc:sldMk cId="1818286724" sldId="565"/>
            <ac:spMk id="3" creationId="{8E633FD0-B4A8-40DE-A33D-1E8571419F63}"/>
          </ac:spMkLst>
        </pc:spChg>
        <pc:spChg chg="add mod">
          <ac:chgData name="Aniket Chhabra" userId="598e0514-bef3-4e71-b6aa-f2edd6441cff" providerId="ADAL" clId="{900BF137-52E4-4A71-9307-1630A0E39238}" dt="2021-06-27T02:00:29.127" v="1801" actId="948"/>
          <ac:spMkLst>
            <pc:docMk/>
            <pc:sldMk cId="1818286724" sldId="565"/>
            <ac:spMk id="4" creationId="{93BC1A44-A812-45DA-B485-7716B3C2F99A}"/>
          </ac:spMkLst>
        </pc:spChg>
        <pc:spChg chg="add mod">
          <ac:chgData name="Aniket Chhabra" userId="598e0514-bef3-4e71-b6aa-f2edd6441cff" providerId="ADAL" clId="{900BF137-52E4-4A71-9307-1630A0E39238}" dt="2021-06-27T02:00:28.560" v="1800" actId="1076"/>
          <ac:spMkLst>
            <pc:docMk/>
            <pc:sldMk cId="1818286724" sldId="565"/>
            <ac:spMk id="5" creationId="{9E05347D-3865-4CC7-AB22-B9817DBE80C1}"/>
          </ac:spMkLst>
        </pc:spChg>
        <pc:spChg chg="add mod">
          <ac:chgData name="Aniket Chhabra" userId="598e0514-bef3-4e71-b6aa-f2edd6441cff" providerId="ADAL" clId="{900BF137-52E4-4A71-9307-1630A0E39238}" dt="2021-06-27T02:00:32.920" v="1843" actId="1076"/>
          <ac:spMkLst>
            <pc:docMk/>
            <pc:sldMk cId="1818286724" sldId="565"/>
            <ac:spMk id="6" creationId="{88E75B4D-1FC2-4C3E-A9D6-D77B215A289A}"/>
          </ac:spMkLst>
        </pc:spChg>
        <pc:spChg chg="add del mod modVis">
          <ac:chgData name="Aniket Chhabra" userId="598e0514-bef3-4e71-b6aa-f2edd6441cff" providerId="ADAL" clId="{900BF137-52E4-4A71-9307-1630A0E39238}" dt="2021-06-27T02:00:27.040" v="1741"/>
          <ac:spMkLst>
            <pc:docMk/>
            <pc:sldMk cId="1818286724" sldId="565"/>
            <ac:spMk id="10" creationId="{4F40D1D5-FCF7-4F72-916E-A88FBD55C10F}"/>
          </ac:spMkLst>
        </pc:spChg>
        <pc:spChg chg="add del mod modVis">
          <ac:chgData name="Aniket Chhabra" userId="598e0514-bef3-4e71-b6aa-f2edd6441cff" providerId="ADAL" clId="{900BF137-52E4-4A71-9307-1630A0E39238}" dt="2021-06-27T02:00:27.694" v="1797"/>
          <ac:spMkLst>
            <pc:docMk/>
            <pc:sldMk cId="1818286724" sldId="565"/>
            <ac:spMk id="12" creationId="{8EE8CAE6-0830-428B-97F3-45B4BED0CE40}"/>
          </ac:spMkLst>
        </pc:spChg>
        <pc:spChg chg="add del mod modVis">
          <ac:chgData name="Aniket Chhabra" userId="598e0514-bef3-4e71-b6aa-f2edd6441cff" providerId="ADAL" clId="{900BF137-52E4-4A71-9307-1630A0E39238}" dt="2021-06-27T02:00:29.191" v="1840"/>
          <ac:spMkLst>
            <pc:docMk/>
            <pc:sldMk cId="1818286724" sldId="565"/>
            <ac:spMk id="13" creationId="{18C1F0E6-66CA-4972-9AAA-87F80643A7A5}"/>
          </ac:spMkLst>
        </pc:spChg>
        <pc:graphicFrameChg chg="add mod ord modVis">
          <ac:chgData name="Aniket Chhabra" userId="598e0514-bef3-4e71-b6aa-f2edd6441cff" providerId="ADAL" clId="{900BF137-52E4-4A71-9307-1630A0E39238}" dt="2021-06-27T02:00:29.195" v="1842"/>
          <ac:graphicFrameMkLst>
            <pc:docMk/>
            <pc:sldMk cId="1818286724" sldId="565"/>
            <ac:graphicFrameMk id="11" creationId="{41EDDECD-71DF-4BCB-82E9-6833F4539CBB}"/>
          </ac:graphicFrameMkLst>
        </pc:graphicFrameChg>
        <pc:picChg chg="add mod">
          <ac:chgData name="Aniket Chhabra" userId="598e0514-bef3-4e71-b6aa-f2edd6441cff" providerId="ADAL" clId="{900BF137-52E4-4A71-9307-1630A0E39238}" dt="2021-06-27T02:00:28.560" v="1800" actId="1076"/>
          <ac:picMkLst>
            <pc:docMk/>
            <pc:sldMk cId="1818286724" sldId="565"/>
            <ac:picMk id="7" creationId="{BFE92DC4-2128-455D-A195-DAD32AFD1CF7}"/>
          </ac:picMkLst>
        </pc:picChg>
        <pc:picChg chg="add mod">
          <ac:chgData name="Aniket Chhabra" userId="598e0514-bef3-4e71-b6aa-f2edd6441cff" providerId="ADAL" clId="{900BF137-52E4-4A71-9307-1630A0E39238}" dt="2021-06-27T02:00:28.560" v="1800" actId="1076"/>
          <ac:picMkLst>
            <pc:docMk/>
            <pc:sldMk cId="1818286724" sldId="565"/>
            <ac:picMk id="8" creationId="{A030F871-EB91-45CD-B357-C485C5F54DDB}"/>
          </ac:picMkLst>
        </pc:picChg>
        <pc:picChg chg="add mod">
          <ac:chgData name="Aniket Chhabra" userId="598e0514-bef3-4e71-b6aa-f2edd6441cff" providerId="ADAL" clId="{900BF137-52E4-4A71-9307-1630A0E39238}" dt="2021-06-27T02:00:28.560" v="1800" actId="1076"/>
          <ac:picMkLst>
            <pc:docMk/>
            <pc:sldMk cId="1818286724" sldId="565"/>
            <ac:picMk id="9" creationId="{A015A2D5-DD0F-4E9C-921E-1185A5549D3B}"/>
          </ac:picMkLst>
        </pc:picChg>
      </pc:sldChg>
      <pc:sldChg chg="addSp delSp modSp new add mod">
        <pc:chgData name="Aniket Chhabra" userId="598e0514-bef3-4e71-b6aa-f2edd6441cff" providerId="ADAL" clId="{900BF137-52E4-4A71-9307-1630A0E39238}" dt="2021-06-27T02:00:51.254" v="1980"/>
        <pc:sldMkLst>
          <pc:docMk/>
          <pc:sldMk cId="547378695" sldId="566"/>
        </pc:sldMkLst>
        <pc:spChg chg="del">
          <ac:chgData name="Aniket Chhabra" userId="598e0514-bef3-4e71-b6aa-f2edd6441cff" providerId="ADAL" clId="{900BF137-52E4-4A71-9307-1630A0E39238}" dt="2021-06-27T02:00:49.679" v="1923" actId="478"/>
          <ac:spMkLst>
            <pc:docMk/>
            <pc:sldMk cId="547378695" sldId="566"/>
            <ac:spMk id="2" creationId="{4A8B1E4A-B8E7-4097-9127-8FD0CA7B5B18}"/>
          </ac:spMkLst>
        </pc:spChg>
        <pc:spChg chg="del">
          <ac:chgData name="Aniket Chhabra" userId="598e0514-bef3-4e71-b6aa-f2edd6441cff" providerId="ADAL" clId="{900BF137-52E4-4A71-9307-1630A0E39238}" dt="2021-06-27T02:00:49.679" v="1923" actId="478"/>
          <ac:spMkLst>
            <pc:docMk/>
            <pc:sldMk cId="547378695" sldId="566"/>
            <ac:spMk id="3" creationId="{A45844D2-FD69-4E3D-9976-86E71FE7F640}"/>
          </ac:spMkLst>
        </pc:spChg>
        <pc:spChg chg="add mod">
          <ac:chgData name="Aniket Chhabra" userId="598e0514-bef3-4e71-b6aa-f2edd6441cff" providerId="ADAL" clId="{900BF137-52E4-4A71-9307-1630A0E39238}" dt="2021-06-27T02:00:51.152" v="1926" actId="948"/>
          <ac:spMkLst>
            <pc:docMk/>
            <pc:sldMk cId="547378695" sldId="566"/>
            <ac:spMk id="4" creationId="{64918153-A00C-4D88-BBA4-88ED53A234E5}"/>
          </ac:spMkLst>
        </pc:spChg>
        <pc:spChg chg="add del mod modVis">
          <ac:chgData name="Aniket Chhabra" userId="598e0514-bef3-4e71-b6aa-f2edd6441cff" providerId="ADAL" clId="{900BF137-52E4-4A71-9307-1630A0E39238}" dt="2021-06-27T02:00:51.212" v="1965"/>
          <ac:spMkLst>
            <pc:docMk/>
            <pc:sldMk cId="547378695" sldId="566"/>
            <ac:spMk id="6" creationId="{44F81658-972A-49F1-AED9-CFA314F2B17F}"/>
          </ac:spMkLst>
        </pc:spChg>
        <pc:graphicFrameChg chg="add mod ord modVis">
          <ac:chgData name="Aniket Chhabra" userId="598e0514-bef3-4e71-b6aa-f2edd6441cff" providerId="ADAL" clId="{900BF137-52E4-4A71-9307-1630A0E39238}" dt="2021-06-27T02:00:51.254" v="1980"/>
          <ac:graphicFrameMkLst>
            <pc:docMk/>
            <pc:sldMk cId="547378695" sldId="566"/>
            <ac:graphicFrameMk id="7" creationId="{CB6CD79A-0AFC-41BB-B5C4-B6FD7F399FA7}"/>
          </ac:graphicFrameMkLst>
        </pc:graphicFrameChg>
        <pc:picChg chg="add mod">
          <ac:chgData name="Aniket Chhabra" userId="598e0514-bef3-4e71-b6aa-f2edd6441cff" providerId="ADAL" clId="{900BF137-52E4-4A71-9307-1630A0E39238}" dt="2021-06-27T02:00:50.029" v="1924"/>
          <ac:picMkLst>
            <pc:docMk/>
            <pc:sldMk cId="547378695" sldId="566"/>
            <ac:picMk id="5" creationId="{7825120B-9ED3-446B-821C-D11EDB3180C2}"/>
          </ac:picMkLst>
        </pc:picChg>
      </pc:sldChg>
      <pc:sldChg chg="addSp delSp modSp new add mod">
        <pc:chgData name="Aniket Chhabra" userId="598e0514-bef3-4e71-b6aa-f2edd6441cff" providerId="ADAL" clId="{900BF137-52E4-4A71-9307-1630A0E39238}" dt="2021-06-27T02:01:10.667" v="2083"/>
        <pc:sldMkLst>
          <pc:docMk/>
          <pc:sldMk cId="3117177707" sldId="567"/>
        </pc:sldMkLst>
        <pc:spChg chg="del">
          <ac:chgData name="Aniket Chhabra" userId="598e0514-bef3-4e71-b6aa-f2edd6441cff" providerId="ADAL" clId="{900BF137-52E4-4A71-9307-1630A0E39238}" dt="2021-06-27T02:01:08.994" v="1984" actId="478"/>
          <ac:spMkLst>
            <pc:docMk/>
            <pc:sldMk cId="3117177707" sldId="567"/>
            <ac:spMk id="2" creationId="{825B9482-82AD-41E0-82E4-A59FE9D463C8}"/>
          </ac:spMkLst>
        </pc:spChg>
        <pc:spChg chg="del">
          <ac:chgData name="Aniket Chhabra" userId="598e0514-bef3-4e71-b6aa-f2edd6441cff" providerId="ADAL" clId="{900BF137-52E4-4A71-9307-1630A0E39238}" dt="2021-06-27T02:01:08.994" v="1984" actId="478"/>
          <ac:spMkLst>
            <pc:docMk/>
            <pc:sldMk cId="3117177707" sldId="567"/>
            <ac:spMk id="3" creationId="{9E51016D-D332-41C7-A228-3E8C61C922E8}"/>
          </ac:spMkLst>
        </pc:spChg>
        <pc:spChg chg="add mod">
          <ac:chgData name="Aniket Chhabra" userId="598e0514-bef3-4e71-b6aa-f2edd6441cff" providerId="ADAL" clId="{900BF137-52E4-4A71-9307-1630A0E39238}" dt="2021-06-27T02:01:10.601" v="2042" actId="948"/>
          <ac:spMkLst>
            <pc:docMk/>
            <pc:sldMk cId="3117177707" sldId="567"/>
            <ac:spMk id="4" creationId="{146DCA23-1C95-468E-946E-809B5C051DE3}"/>
          </ac:spMkLst>
        </pc:spChg>
        <pc:spChg chg="add del mod modVis">
          <ac:chgData name="Aniket Chhabra" userId="598e0514-bef3-4e71-b6aa-f2edd6441cff" providerId="ADAL" clId="{900BF137-52E4-4A71-9307-1630A0E39238}" dt="2021-06-27T02:01:09.581" v="2025"/>
          <ac:spMkLst>
            <pc:docMk/>
            <pc:sldMk cId="3117177707" sldId="567"/>
            <ac:spMk id="7" creationId="{3334387E-D153-45B0-9D15-28F2D9FE0CEE}"/>
          </ac:spMkLst>
        </pc:spChg>
        <pc:spChg chg="add del mod modVis">
          <ac:chgData name="Aniket Chhabra" userId="598e0514-bef3-4e71-b6aa-f2edd6441cff" providerId="ADAL" clId="{900BF137-52E4-4A71-9307-1630A0E39238}" dt="2021-06-27T02:01:10.664" v="2081"/>
          <ac:spMkLst>
            <pc:docMk/>
            <pc:sldMk cId="3117177707" sldId="567"/>
            <ac:spMk id="9" creationId="{0CA4A3BF-F1D2-47E0-9129-7742229BD860}"/>
          </ac:spMkLst>
        </pc:spChg>
        <pc:graphicFrameChg chg="add mod ord modVis">
          <ac:chgData name="Aniket Chhabra" userId="598e0514-bef3-4e71-b6aa-f2edd6441cff" providerId="ADAL" clId="{900BF137-52E4-4A71-9307-1630A0E39238}" dt="2021-06-27T02:01:10.667" v="2083"/>
          <ac:graphicFrameMkLst>
            <pc:docMk/>
            <pc:sldMk cId="3117177707" sldId="567"/>
            <ac:graphicFrameMk id="8" creationId="{FB242349-B5D8-4241-AA81-DC2D7885B603}"/>
          </ac:graphicFrameMkLst>
        </pc:graphicFrameChg>
        <pc:picChg chg="add mod">
          <ac:chgData name="Aniket Chhabra" userId="598e0514-bef3-4e71-b6aa-f2edd6441cff" providerId="ADAL" clId="{900BF137-52E4-4A71-9307-1630A0E39238}" dt="2021-06-27T02:01:09.404" v="1985"/>
          <ac:picMkLst>
            <pc:docMk/>
            <pc:sldMk cId="3117177707" sldId="567"/>
            <ac:picMk id="5" creationId="{E6594830-2519-4313-B3DB-3DA2EADA6A48}"/>
          </ac:picMkLst>
        </pc:picChg>
        <pc:picChg chg="add mod">
          <ac:chgData name="Aniket Chhabra" userId="598e0514-bef3-4e71-b6aa-f2edd6441cff" providerId="ADAL" clId="{900BF137-52E4-4A71-9307-1630A0E39238}" dt="2021-06-27T02:01:09.404" v="1985"/>
          <ac:picMkLst>
            <pc:docMk/>
            <pc:sldMk cId="3117177707" sldId="567"/>
            <ac:picMk id="6" creationId="{766DB2D0-37EF-42AC-B9DC-820F1B919292}"/>
          </ac:picMkLst>
        </pc:picChg>
      </pc:sldChg>
      <pc:sldChg chg="addSp delSp modSp new add mod">
        <pc:chgData name="Aniket Chhabra" userId="598e0514-bef3-4e71-b6aa-f2edd6441cff" providerId="ADAL" clId="{900BF137-52E4-4A71-9307-1630A0E39238}" dt="2021-06-27T02:01:25.616" v="2143"/>
        <pc:sldMkLst>
          <pc:docMk/>
          <pc:sldMk cId="772850604" sldId="568"/>
        </pc:sldMkLst>
        <pc:spChg chg="del">
          <ac:chgData name="Aniket Chhabra" userId="598e0514-bef3-4e71-b6aa-f2edd6441cff" providerId="ADAL" clId="{900BF137-52E4-4A71-9307-1630A0E39238}" dt="2021-06-27T02:01:24.514" v="2086" actId="478"/>
          <ac:spMkLst>
            <pc:docMk/>
            <pc:sldMk cId="772850604" sldId="568"/>
            <ac:spMk id="2" creationId="{400D9DED-3A98-4C11-A94B-4607C07F7C17}"/>
          </ac:spMkLst>
        </pc:spChg>
        <pc:spChg chg="del">
          <ac:chgData name="Aniket Chhabra" userId="598e0514-bef3-4e71-b6aa-f2edd6441cff" providerId="ADAL" clId="{900BF137-52E4-4A71-9307-1630A0E39238}" dt="2021-06-27T02:01:24.514" v="2086" actId="478"/>
          <ac:spMkLst>
            <pc:docMk/>
            <pc:sldMk cId="772850604" sldId="568"/>
            <ac:spMk id="3" creationId="{BCB5B52B-E50B-4FDF-882C-799ED95EDEAC}"/>
          </ac:spMkLst>
        </pc:spChg>
        <pc:spChg chg="add mod">
          <ac:chgData name="Aniket Chhabra" userId="598e0514-bef3-4e71-b6aa-f2edd6441cff" providerId="ADAL" clId="{900BF137-52E4-4A71-9307-1630A0E39238}" dt="2021-06-27T02:01:25.520" v="2089" actId="948"/>
          <ac:spMkLst>
            <pc:docMk/>
            <pc:sldMk cId="772850604" sldId="568"/>
            <ac:spMk id="5" creationId="{BC146F78-5473-4FF2-84C8-5499376D31CF}"/>
          </ac:spMkLst>
        </pc:spChg>
        <pc:spChg chg="add del mod modVis">
          <ac:chgData name="Aniket Chhabra" userId="598e0514-bef3-4e71-b6aa-f2edd6441cff" providerId="ADAL" clId="{900BF137-52E4-4A71-9307-1630A0E39238}" dt="2021-06-27T02:01:25.577" v="2128"/>
          <ac:spMkLst>
            <pc:docMk/>
            <pc:sldMk cId="772850604" sldId="568"/>
            <ac:spMk id="13" creationId="{B2D8CD8C-46CA-46CF-B872-4E9DAECDF592}"/>
          </ac:spMkLst>
        </pc:spChg>
        <pc:graphicFrameChg chg="add mod ord modVis">
          <ac:chgData name="Aniket Chhabra" userId="598e0514-bef3-4e71-b6aa-f2edd6441cff" providerId="ADAL" clId="{900BF137-52E4-4A71-9307-1630A0E39238}" dt="2021-06-27T02:01:25.616" v="2143"/>
          <ac:graphicFrameMkLst>
            <pc:docMk/>
            <pc:sldMk cId="772850604" sldId="568"/>
            <ac:graphicFrameMk id="14" creationId="{F8231D47-8224-429D-B81D-9098BAA6C133}"/>
          </ac:graphicFrameMkLst>
        </pc:graphicFrameChg>
        <pc:picChg chg="add mod">
          <ac:chgData name="Aniket Chhabra" userId="598e0514-bef3-4e71-b6aa-f2edd6441cff" providerId="ADAL" clId="{900BF137-52E4-4A71-9307-1630A0E39238}" dt="2021-06-27T02:01:24.895" v="2087"/>
          <ac:picMkLst>
            <pc:docMk/>
            <pc:sldMk cId="772850604" sldId="568"/>
            <ac:picMk id="4" creationId="{B3A86C61-1624-4C54-BB43-FAD8B98D6AC6}"/>
          </ac:picMkLst>
        </pc:picChg>
        <pc:picChg chg="add mod">
          <ac:chgData name="Aniket Chhabra" userId="598e0514-bef3-4e71-b6aa-f2edd6441cff" providerId="ADAL" clId="{900BF137-52E4-4A71-9307-1630A0E39238}" dt="2021-06-27T02:01:24.895" v="2087"/>
          <ac:picMkLst>
            <pc:docMk/>
            <pc:sldMk cId="772850604" sldId="568"/>
            <ac:picMk id="6" creationId="{A96189F4-3F8D-4647-856C-8F8960B2D753}"/>
          </ac:picMkLst>
        </pc:picChg>
        <pc:picChg chg="add mod">
          <ac:chgData name="Aniket Chhabra" userId="598e0514-bef3-4e71-b6aa-f2edd6441cff" providerId="ADAL" clId="{900BF137-52E4-4A71-9307-1630A0E39238}" dt="2021-06-27T02:01:24.895" v="2087"/>
          <ac:picMkLst>
            <pc:docMk/>
            <pc:sldMk cId="772850604" sldId="568"/>
            <ac:picMk id="7" creationId="{47A4BFF3-9901-427C-97A7-1E681069A74A}"/>
          </ac:picMkLst>
        </pc:picChg>
        <pc:picChg chg="add mod">
          <ac:chgData name="Aniket Chhabra" userId="598e0514-bef3-4e71-b6aa-f2edd6441cff" providerId="ADAL" clId="{900BF137-52E4-4A71-9307-1630A0E39238}" dt="2021-06-27T02:01:24.895" v="2087"/>
          <ac:picMkLst>
            <pc:docMk/>
            <pc:sldMk cId="772850604" sldId="568"/>
            <ac:picMk id="8" creationId="{5D0AF9DA-3CF8-4A03-9B97-036B69AF6FBD}"/>
          </ac:picMkLst>
        </pc:picChg>
        <pc:picChg chg="add mod">
          <ac:chgData name="Aniket Chhabra" userId="598e0514-bef3-4e71-b6aa-f2edd6441cff" providerId="ADAL" clId="{900BF137-52E4-4A71-9307-1630A0E39238}" dt="2021-06-27T02:01:24.895" v="2087"/>
          <ac:picMkLst>
            <pc:docMk/>
            <pc:sldMk cId="772850604" sldId="568"/>
            <ac:picMk id="9" creationId="{B3276125-8B2C-42C9-BD25-F331531D4723}"/>
          </ac:picMkLst>
        </pc:picChg>
        <pc:picChg chg="add mod">
          <ac:chgData name="Aniket Chhabra" userId="598e0514-bef3-4e71-b6aa-f2edd6441cff" providerId="ADAL" clId="{900BF137-52E4-4A71-9307-1630A0E39238}" dt="2021-06-27T02:01:24.895" v="2087"/>
          <ac:picMkLst>
            <pc:docMk/>
            <pc:sldMk cId="772850604" sldId="568"/>
            <ac:picMk id="10" creationId="{CC51B9A1-D065-47BA-BA44-079E4A520C76}"/>
          </ac:picMkLst>
        </pc:picChg>
        <pc:picChg chg="add mod">
          <ac:chgData name="Aniket Chhabra" userId="598e0514-bef3-4e71-b6aa-f2edd6441cff" providerId="ADAL" clId="{900BF137-52E4-4A71-9307-1630A0E39238}" dt="2021-06-27T02:01:24.895" v="2087"/>
          <ac:picMkLst>
            <pc:docMk/>
            <pc:sldMk cId="772850604" sldId="568"/>
            <ac:picMk id="11" creationId="{63FB4E7C-F457-40AE-8B3D-4B2CECA1A631}"/>
          </ac:picMkLst>
        </pc:picChg>
        <pc:picChg chg="add mod">
          <ac:chgData name="Aniket Chhabra" userId="598e0514-bef3-4e71-b6aa-f2edd6441cff" providerId="ADAL" clId="{900BF137-52E4-4A71-9307-1630A0E39238}" dt="2021-06-27T02:01:24.895" v="2087"/>
          <ac:picMkLst>
            <pc:docMk/>
            <pc:sldMk cId="772850604" sldId="568"/>
            <ac:picMk id="12" creationId="{18561883-BCA5-4446-9015-CE27F345313A}"/>
          </ac:picMkLst>
        </pc:picChg>
      </pc:sldChg>
      <pc:sldChg chg="addSp delSp modSp new add mod">
        <pc:chgData name="Aniket Chhabra" userId="598e0514-bef3-4e71-b6aa-f2edd6441cff" providerId="ADAL" clId="{900BF137-52E4-4A71-9307-1630A0E39238}" dt="2021-06-27T02:02:35.404" v="2282" actId="1036"/>
        <pc:sldMkLst>
          <pc:docMk/>
          <pc:sldMk cId="1071933680" sldId="569"/>
        </pc:sldMkLst>
        <pc:spChg chg="add del">
          <ac:chgData name="Aniket Chhabra" userId="598e0514-bef3-4e71-b6aa-f2edd6441cff" providerId="ADAL" clId="{900BF137-52E4-4A71-9307-1630A0E39238}" dt="2021-06-27T02:02:07.396" v="2252" actId="478"/>
          <ac:spMkLst>
            <pc:docMk/>
            <pc:sldMk cId="1071933680" sldId="569"/>
            <ac:spMk id="2" creationId="{B5B282C7-C6D7-4006-900C-4051CCCBD2C6}"/>
          </ac:spMkLst>
        </pc:spChg>
        <pc:spChg chg="add del">
          <ac:chgData name="Aniket Chhabra" userId="598e0514-bef3-4e71-b6aa-f2edd6441cff" providerId="ADAL" clId="{900BF137-52E4-4A71-9307-1630A0E39238}" dt="2021-06-27T02:02:07.396" v="2252" actId="478"/>
          <ac:spMkLst>
            <pc:docMk/>
            <pc:sldMk cId="1071933680" sldId="569"/>
            <ac:spMk id="3" creationId="{C784B18A-A535-4935-8A30-0436B8B8A825}"/>
          </ac:spMkLst>
        </pc:spChg>
        <pc:spChg chg="add mod">
          <ac:chgData name="Aniket Chhabra" userId="598e0514-bef3-4e71-b6aa-f2edd6441cff" providerId="ADAL" clId="{900BF137-52E4-4A71-9307-1630A0E39238}" dt="2021-06-27T02:01:54.677" v="2248" actId="27636"/>
          <ac:spMkLst>
            <pc:docMk/>
            <pc:sldMk cId="1071933680" sldId="569"/>
            <ac:spMk id="5" creationId="{18695CA4-33FE-4C93-97A6-FBB8E4ADE821}"/>
          </ac:spMkLst>
        </pc:spChg>
        <pc:spChg chg="add del mod modVis">
          <ac:chgData name="Aniket Chhabra" userId="598e0514-bef3-4e71-b6aa-f2edd6441cff" providerId="ADAL" clId="{900BF137-52E4-4A71-9307-1630A0E39238}" dt="2021-06-27T02:01:54.677" v="2246" actId="962"/>
          <ac:spMkLst>
            <pc:docMk/>
            <pc:sldMk cId="1071933680" sldId="569"/>
            <ac:spMk id="13" creationId="{E5F9D0E7-1EA9-4A30-A404-109309307C5D}"/>
          </ac:spMkLst>
        </pc:spChg>
        <pc:spChg chg="add del">
          <ac:chgData name="Aniket Chhabra" userId="598e0514-bef3-4e71-b6aa-f2edd6441cff" providerId="ADAL" clId="{900BF137-52E4-4A71-9307-1630A0E39238}" dt="2021-06-27T02:02:24.739" v="2272" actId="22"/>
          <ac:spMkLst>
            <pc:docMk/>
            <pc:sldMk cId="1071933680" sldId="569"/>
            <ac:spMk id="43" creationId="{933F14EF-E212-4044-A392-642690EF656E}"/>
          </ac:spMkLst>
        </pc:spChg>
        <pc:spChg chg="add mod">
          <ac:chgData name="Aniket Chhabra" userId="598e0514-bef3-4e71-b6aa-f2edd6441cff" providerId="ADAL" clId="{900BF137-52E4-4A71-9307-1630A0E39238}" dt="2021-06-27T02:02:35.404" v="2282" actId="1036"/>
          <ac:spMkLst>
            <pc:docMk/>
            <pc:sldMk cId="1071933680" sldId="569"/>
            <ac:spMk id="45" creationId="{9CE13EBF-63D4-4B0A-A9DE-425D4030227F}"/>
          </ac:spMkLst>
        </pc:spChg>
        <pc:graphicFrameChg chg="add mod ord modVis">
          <ac:chgData name="Aniket Chhabra" userId="598e0514-bef3-4e71-b6aa-f2edd6441cff" providerId="ADAL" clId="{900BF137-52E4-4A71-9307-1630A0E39238}" dt="2021-06-27T02:01:54.655" v="2210" actId="14100"/>
          <ac:graphicFrameMkLst>
            <pc:docMk/>
            <pc:sldMk cId="1071933680" sldId="569"/>
            <ac:graphicFrameMk id="14" creationId="{C2C687EF-211D-44CA-8003-D3488D64A4E8}"/>
          </ac:graphicFrameMkLst>
        </pc:graphicFrameChg>
        <pc:graphicFrameChg chg="add mod ord modVis">
          <ac:chgData name="Aniket Chhabra" userId="598e0514-bef3-4e71-b6aa-f2edd6441cff" providerId="ADAL" clId="{900BF137-52E4-4A71-9307-1630A0E39238}" dt="2021-06-27T02:02:07.949" v="2268"/>
          <ac:graphicFrameMkLst>
            <pc:docMk/>
            <pc:sldMk cId="1071933680" sldId="569"/>
            <ac:graphicFrameMk id="41" creationId="{41F7EDB7-9E95-4FA8-A261-85E6D0434565}"/>
          </ac:graphicFrameMkLst>
        </pc:graphicFrameChg>
        <pc:picChg chg="add mod">
          <ac:chgData name="Aniket Chhabra" userId="598e0514-bef3-4e71-b6aa-f2edd6441cff" providerId="ADAL" clId="{900BF137-52E4-4A71-9307-1630A0E39238}" dt="2021-06-27T02:01:46.041" v="2147"/>
          <ac:picMkLst>
            <pc:docMk/>
            <pc:sldMk cId="1071933680" sldId="569"/>
            <ac:picMk id="4" creationId="{FB5C55D2-D625-48E6-ADB5-0E2D501CE9AC}"/>
          </ac:picMkLst>
        </pc:picChg>
        <pc:picChg chg="add mod">
          <ac:chgData name="Aniket Chhabra" userId="598e0514-bef3-4e71-b6aa-f2edd6441cff" providerId="ADAL" clId="{900BF137-52E4-4A71-9307-1630A0E39238}" dt="2021-06-27T02:01:46.041" v="2147"/>
          <ac:picMkLst>
            <pc:docMk/>
            <pc:sldMk cId="1071933680" sldId="569"/>
            <ac:picMk id="6" creationId="{0A0E5E88-F2D3-4103-B9BE-D99548F75306}"/>
          </ac:picMkLst>
        </pc:picChg>
        <pc:picChg chg="add mod">
          <ac:chgData name="Aniket Chhabra" userId="598e0514-bef3-4e71-b6aa-f2edd6441cff" providerId="ADAL" clId="{900BF137-52E4-4A71-9307-1630A0E39238}" dt="2021-06-27T02:01:46.041" v="2147"/>
          <ac:picMkLst>
            <pc:docMk/>
            <pc:sldMk cId="1071933680" sldId="569"/>
            <ac:picMk id="7" creationId="{0832850F-957E-4BA0-9282-AF2657047940}"/>
          </ac:picMkLst>
        </pc:picChg>
        <pc:picChg chg="add mod">
          <ac:chgData name="Aniket Chhabra" userId="598e0514-bef3-4e71-b6aa-f2edd6441cff" providerId="ADAL" clId="{900BF137-52E4-4A71-9307-1630A0E39238}" dt="2021-06-27T02:01:46.041" v="2147"/>
          <ac:picMkLst>
            <pc:docMk/>
            <pc:sldMk cId="1071933680" sldId="569"/>
            <ac:picMk id="8" creationId="{A73D6933-36BF-408A-A1A2-63845E338DC2}"/>
          </ac:picMkLst>
        </pc:picChg>
        <pc:picChg chg="add mod">
          <ac:chgData name="Aniket Chhabra" userId="598e0514-bef3-4e71-b6aa-f2edd6441cff" providerId="ADAL" clId="{900BF137-52E4-4A71-9307-1630A0E39238}" dt="2021-06-27T02:01:46.041" v="2147"/>
          <ac:picMkLst>
            <pc:docMk/>
            <pc:sldMk cId="1071933680" sldId="569"/>
            <ac:picMk id="9" creationId="{5560D289-5D29-43D1-9FF1-B24BAA4BFE58}"/>
          </ac:picMkLst>
        </pc:picChg>
        <pc:picChg chg="add mod">
          <ac:chgData name="Aniket Chhabra" userId="598e0514-bef3-4e71-b6aa-f2edd6441cff" providerId="ADAL" clId="{900BF137-52E4-4A71-9307-1630A0E39238}" dt="2021-06-27T02:01:46.041" v="2147"/>
          <ac:picMkLst>
            <pc:docMk/>
            <pc:sldMk cId="1071933680" sldId="569"/>
            <ac:picMk id="10" creationId="{BCA242B8-451E-48DA-BBDA-FD86082DBCAE}"/>
          </ac:picMkLst>
        </pc:picChg>
        <pc:picChg chg="add mod">
          <ac:chgData name="Aniket Chhabra" userId="598e0514-bef3-4e71-b6aa-f2edd6441cff" providerId="ADAL" clId="{900BF137-52E4-4A71-9307-1630A0E39238}" dt="2021-06-27T02:01:46.041" v="2147"/>
          <ac:picMkLst>
            <pc:docMk/>
            <pc:sldMk cId="1071933680" sldId="569"/>
            <ac:picMk id="11" creationId="{74460F76-A9DB-48FC-AD17-E6A70402FA86}"/>
          </ac:picMkLst>
        </pc:picChg>
        <pc:picChg chg="add mod">
          <ac:chgData name="Aniket Chhabra" userId="598e0514-bef3-4e71-b6aa-f2edd6441cff" providerId="ADAL" clId="{900BF137-52E4-4A71-9307-1630A0E39238}" dt="2021-06-27T02:01:46.041" v="2147"/>
          <ac:picMkLst>
            <pc:docMk/>
            <pc:sldMk cId="1071933680" sldId="569"/>
            <ac:picMk id="12" creationId="{838DDEEE-A5D3-46E5-BD92-4EF4AD88D7D1}"/>
          </ac:picMkLst>
        </pc:picChg>
        <pc:picChg chg="add del mod">
          <ac:chgData name="Aniket Chhabra" userId="598e0514-bef3-4e71-b6aa-f2edd6441cff" providerId="ADAL" clId="{900BF137-52E4-4A71-9307-1630A0E39238}" dt="2021-06-27T02:02:04.759" v="2251"/>
          <ac:picMkLst>
            <pc:docMk/>
            <pc:sldMk cId="1071933680" sldId="569"/>
            <ac:picMk id="15" creationId="{D11AC69B-FB82-4DBF-9894-7A8511522DCD}"/>
          </ac:picMkLst>
        </pc:picChg>
        <pc:picChg chg="add del mod">
          <ac:chgData name="Aniket Chhabra" userId="598e0514-bef3-4e71-b6aa-f2edd6441cff" providerId="ADAL" clId="{900BF137-52E4-4A71-9307-1630A0E39238}" dt="2021-06-27T02:02:04.759" v="2251"/>
          <ac:picMkLst>
            <pc:docMk/>
            <pc:sldMk cId="1071933680" sldId="569"/>
            <ac:picMk id="16" creationId="{0458DE83-839D-445B-88BD-D12C79608354}"/>
          </ac:picMkLst>
        </pc:picChg>
        <pc:picChg chg="add del mod">
          <ac:chgData name="Aniket Chhabra" userId="598e0514-bef3-4e71-b6aa-f2edd6441cff" providerId="ADAL" clId="{900BF137-52E4-4A71-9307-1630A0E39238}" dt="2021-06-27T02:02:04.759" v="2251"/>
          <ac:picMkLst>
            <pc:docMk/>
            <pc:sldMk cId="1071933680" sldId="569"/>
            <ac:picMk id="17" creationId="{84615E5C-4383-4B5E-BB0E-BF6F94C39CE0}"/>
          </ac:picMkLst>
        </pc:picChg>
        <pc:picChg chg="add del mod">
          <ac:chgData name="Aniket Chhabra" userId="598e0514-bef3-4e71-b6aa-f2edd6441cff" providerId="ADAL" clId="{900BF137-52E4-4A71-9307-1630A0E39238}" dt="2021-06-27T02:02:04.759" v="2251"/>
          <ac:picMkLst>
            <pc:docMk/>
            <pc:sldMk cId="1071933680" sldId="569"/>
            <ac:picMk id="18" creationId="{77DB8358-EE39-45B3-85DE-A4460F5F7C3E}"/>
          </ac:picMkLst>
        </pc:picChg>
        <pc:picChg chg="add del mod">
          <ac:chgData name="Aniket Chhabra" userId="598e0514-bef3-4e71-b6aa-f2edd6441cff" providerId="ADAL" clId="{900BF137-52E4-4A71-9307-1630A0E39238}" dt="2021-06-27T02:02:04.759" v="2251"/>
          <ac:picMkLst>
            <pc:docMk/>
            <pc:sldMk cId="1071933680" sldId="569"/>
            <ac:picMk id="19" creationId="{A3832543-A371-4A76-96C8-ECDE18D6A69F}"/>
          </ac:picMkLst>
        </pc:picChg>
        <pc:picChg chg="add del mod">
          <ac:chgData name="Aniket Chhabra" userId="598e0514-bef3-4e71-b6aa-f2edd6441cff" providerId="ADAL" clId="{900BF137-52E4-4A71-9307-1630A0E39238}" dt="2021-06-27T02:02:04.759" v="2251"/>
          <ac:picMkLst>
            <pc:docMk/>
            <pc:sldMk cId="1071933680" sldId="569"/>
            <ac:picMk id="20" creationId="{2347A60D-B1A0-419C-BA7D-DD2D3B59E8BB}"/>
          </ac:picMkLst>
        </pc:picChg>
        <pc:picChg chg="add del mod">
          <ac:chgData name="Aniket Chhabra" userId="598e0514-bef3-4e71-b6aa-f2edd6441cff" providerId="ADAL" clId="{900BF137-52E4-4A71-9307-1630A0E39238}" dt="2021-06-27T02:02:04.759" v="2251"/>
          <ac:picMkLst>
            <pc:docMk/>
            <pc:sldMk cId="1071933680" sldId="569"/>
            <ac:picMk id="21" creationId="{63E88142-EC51-4740-8376-7A4B0D486969}"/>
          </ac:picMkLst>
        </pc:picChg>
        <pc:picChg chg="add del mod">
          <ac:chgData name="Aniket Chhabra" userId="598e0514-bef3-4e71-b6aa-f2edd6441cff" providerId="ADAL" clId="{900BF137-52E4-4A71-9307-1630A0E39238}" dt="2021-06-27T02:02:04.759" v="2251"/>
          <ac:picMkLst>
            <pc:docMk/>
            <pc:sldMk cId="1071933680" sldId="569"/>
            <ac:picMk id="22" creationId="{A7DD939E-F597-4D0A-82E6-8F6D892C15C4}"/>
          </ac:picMkLst>
        </pc:picChg>
        <pc:picChg chg="add del mod">
          <ac:chgData name="Aniket Chhabra" userId="598e0514-bef3-4e71-b6aa-f2edd6441cff" providerId="ADAL" clId="{900BF137-52E4-4A71-9307-1630A0E39238}" dt="2021-06-27T02:02:04.759" v="2251"/>
          <ac:picMkLst>
            <pc:docMk/>
            <pc:sldMk cId="1071933680" sldId="569"/>
            <ac:picMk id="23" creationId="{420710D9-1782-412D-AB24-3518FEEDD571}"/>
          </ac:picMkLst>
        </pc:picChg>
        <pc:picChg chg="add del mod">
          <ac:chgData name="Aniket Chhabra" userId="598e0514-bef3-4e71-b6aa-f2edd6441cff" providerId="ADAL" clId="{900BF137-52E4-4A71-9307-1630A0E39238}" dt="2021-06-27T02:02:04.759" v="2251"/>
          <ac:picMkLst>
            <pc:docMk/>
            <pc:sldMk cId="1071933680" sldId="569"/>
            <ac:picMk id="24" creationId="{BA6F4990-84B4-454A-954C-CBFB5BA94C4F}"/>
          </ac:picMkLst>
        </pc:picChg>
        <pc:picChg chg="add del mod">
          <ac:chgData name="Aniket Chhabra" userId="598e0514-bef3-4e71-b6aa-f2edd6441cff" providerId="ADAL" clId="{900BF137-52E4-4A71-9307-1630A0E39238}" dt="2021-06-27T02:02:04.759" v="2251"/>
          <ac:picMkLst>
            <pc:docMk/>
            <pc:sldMk cId="1071933680" sldId="569"/>
            <ac:picMk id="25" creationId="{E9FDA679-1F66-4FD0-8BAA-0503C41675F0}"/>
          </ac:picMkLst>
        </pc:picChg>
        <pc:picChg chg="add del mod">
          <ac:chgData name="Aniket Chhabra" userId="598e0514-bef3-4e71-b6aa-f2edd6441cff" providerId="ADAL" clId="{900BF137-52E4-4A71-9307-1630A0E39238}" dt="2021-06-27T02:02:04.759" v="2251"/>
          <ac:picMkLst>
            <pc:docMk/>
            <pc:sldMk cId="1071933680" sldId="569"/>
            <ac:picMk id="26" creationId="{88969893-4289-42DF-A713-DA36F87BB447}"/>
          </ac:picMkLst>
        </pc:picChg>
        <pc:picChg chg="add del mod">
          <ac:chgData name="Aniket Chhabra" userId="598e0514-bef3-4e71-b6aa-f2edd6441cff" providerId="ADAL" clId="{900BF137-52E4-4A71-9307-1630A0E39238}" dt="2021-06-27T02:02:04.759" v="2251"/>
          <ac:picMkLst>
            <pc:docMk/>
            <pc:sldMk cId="1071933680" sldId="569"/>
            <ac:picMk id="27" creationId="{0FF7DBF5-FA96-41BC-9FE8-3B884BC99056}"/>
          </ac:picMkLst>
        </pc:picChg>
        <pc:picChg chg="add mod">
          <ac:chgData name="Aniket Chhabra" userId="598e0514-bef3-4e71-b6aa-f2edd6441cff" providerId="ADAL" clId="{900BF137-52E4-4A71-9307-1630A0E39238}" dt="2021-06-27T02:02:07.774" v="2253"/>
          <ac:picMkLst>
            <pc:docMk/>
            <pc:sldMk cId="1071933680" sldId="569"/>
            <ac:picMk id="28" creationId="{A92A2BB0-C877-42D0-8ADA-C25EE2E02BBD}"/>
          </ac:picMkLst>
        </pc:picChg>
        <pc:picChg chg="add mod">
          <ac:chgData name="Aniket Chhabra" userId="598e0514-bef3-4e71-b6aa-f2edd6441cff" providerId="ADAL" clId="{900BF137-52E4-4A71-9307-1630A0E39238}" dt="2021-06-27T02:02:07.774" v="2253"/>
          <ac:picMkLst>
            <pc:docMk/>
            <pc:sldMk cId="1071933680" sldId="569"/>
            <ac:picMk id="29" creationId="{0FEB9010-5EC6-465A-AD08-2B411B2F5406}"/>
          </ac:picMkLst>
        </pc:picChg>
        <pc:picChg chg="add mod">
          <ac:chgData name="Aniket Chhabra" userId="598e0514-bef3-4e71-b6aa-f2edd6441cff" providerId="ADAL" clId="{900BF137-52E4-4A71-9307-1630A0E39238}" dt="2021-06-27T02:02:07.774" v="2253"/>
          <ac:picMkLst>
            <pc:docMk/>
            <pc:sldMk cId="1071933680" sldId="569"/>
            <ac:picMk id="30" creationId="{89073651-76FE-4C95-9786-12996B4D3C3E}"/>
          </ac:picMkLst>
        </pc:picChg>
        <pc:picChg chg="add mod">
          <ac:chgData name="Aniket Chhabra" userId="598e0514-bef3-4e71-b6aa-f2edd6441cff" providerId="ADAL" clId="{900BF137-52E4-4A71-9307-1630A0E39238}" dt="2021-06-27T02:02:07.774" v="2253"/>
          <ac:picMkLst>
            <pc:docMk/>
            <pc:sldMk cId="1071933680" sldId="569"/>
            <ac:picMk id="31" creationId="{78ACB90A-A6D6-45FD-80D8-27FBCBFFEF1F}"/>
          </ac:picMkLst>
        </pc:picChg>
        <pc:picChg chg="add mod">
          <ac:chgData name="Aniket Chhabra" userId="598e0514-bef3-4e71-b6aa-f2edd6441cff" providerId="ADAL" clId="{900BF137-52E4-4A71-9307-1630A0E39238}" dt="2021-06-27T02:02:07.774" v="2253"/>
          <ac:picMkLst>
            <pc:docMk/>
            <pc:sldMk cId="1071933680" sldId="569"/>
            <ac:picMk id="32" creationId="{FED68AB3-30C7-4890-B81B-59E85201919C}"/>
          </ac:picMkLst>
        </pc:picChg>
        <pc:picChg chg="add mod">
          <ac:chgData name="Aniket Chhabra" userId="598e0514-bef3-4e71-b6aa-f2edd6441cff" providerId="ADAL" clId="{900BF137-52E4-4A71-9307-1630A0E39238}" dt="2021-06-27T02:02:07.774" v="2253"/>
          <ac:picMkLst>
            <pc:docMk/>
            <pc:sldMk cId="1071933680" sldId="569"/>
            <ac:picMk id="33" creationId="{789DCC4F-372D-448F-A957-F2050463E518}"/>
          </ac:picMkLst>
        </pc:picChg>
        <pc:picChg chg="add mod">
          <ac:chgData name="Aniket Chhabra" userId="598e0514-bef3-4e71-b6aa-f2edd6441cff" providerId="ADAL" clId="{900BF137-52E4-4A71-9307-1630A0E39238}" dt="2021-06-27T02:02:07.774" v="2253"/>
          <ac:picMkLst>
            <pc:docMk/>
            <pc:sldMk cId="1071933680" sldId="569"/>
            <ac:picMk id="34" creationId="{D7343164-8836-4D14-A4C9-B94B4F880142}"/>
          </ac:picMkLst>
        </pc:picChg>
        <pc:picChg chg="add mod">
          <ac:chgData name="Aniket Chhabra" userId="598e0514-bef3-4e71-b6aa-f2edd6441cff" providerId="ADAL" clId="{900BF137-52E4-4A71-9307-1630A0E39238}" dt="2021-06-27T02:02:07.774" v="2253"/>
          <ac:picMkLst>
            <pc:docMk/>
            <pc:sldMk cId="1071933680" sldId="569"/>
            <ac:picMk id="35" creationId="{07017679-97EE-43FB-B154-6570080A80D9}"/>
          </ac:picMkLst>
        </pc:picChg>
        <pc:picChg chg="add mod">
          <ac:chgData name="Aniket Chhabra" userId="598e0514-bef3-4e71-b6aa-f2edd6441cff" providerId="ADAL" clId="{900BF137-52E4-4A71-9307-1630A0E39238}" dt="2021-06-27T02:02:07.774" v="2253"/>
          <ac:picMkLst>
            <pc:docMk/>
            <pc:sldMk cId="1071933680" sldId="569"/>
            <ac:picMk id="36" creationId="{98F67DDD-5A84-49B5-BE5F-59724A064BF8}"/>
          </ac:picMkLst>
        </pc:picChg>
        <pc:picChg chg="add mod">
          <ac:chgData name="Aniket Chhabra" userId="598e0514-bef3-4e71-b6aa-f2edd6441cff" providerId="ADAL" clId="{900BF137-52E4-4A71-9307-1630A0E39238}" dt="2021-06-27T02:02:07.774" v="2253"/>
          <ac:picMkLst>
            <pc:docMk/>
            <pc:sldMk cId="1071933680" sldId="569"/>
            <ac:picMk id="37" creationId="{091BC4B2-488F-4419-9F6D-29B425D21FD6}"/>
          </ac:picMkLst>
        </pc:picChg>
        <pc:picChg chg="add mod">
          <ac:chgData name="Aniket Chhabra" userId="598e0514-bef3-4e71-b6aa-f2edd6441cff" providerId="ADAL" clId="{900BF137-52E4-4A71-9307-1630A0E39238}" dt="2021-06-27T02:02:07.774" v="2253"/>
          <ac:picMkLst>
            <pc:docMk/>
            <pc:sldMk cId="1071933680" sldId="569"/>
            <ac:picMk id="38" creationId="{B0E75062-AE5C-4DD3-B4ED-AF18934ACD01}"/>
          </ac:picMkLst>
        </pc:picChg>
        <pc:picChg chg="add mod">
          <ac:chgData name="Aniket Chhabra" userId="598e0514-bef3-4e71-b6aa-f2edd6441cff" providerId="ADAL" clId="{900BF137-52E4-4A71-9307-1630A0E39238}" dt="2021-06-27T02:02:07.774" v="2253"/>
          <ac:picMkLst>
            <pc:docMk/>
            <pc:sldMk cId="1071933680" sldId="569"/>
            <ac:picMk id="39" creationId="{07D27843-20B3-475F-9DF4-6BD8BE42FB13}"/>
          </ac:picMkLst>
        </pc:picChg>
        <pc:picChg chg="add mod">
          <ac:chgData name="Aniket Chhabra" userId="598e0514-bef3-4e71-b6aa-f2edd6441cff" providerId="ADAL" clId="{900BF137-52E4-4A71-9307-1630A0E39238}" dt="2021-06-27T02:02:07.774" v="2253"/>
          <ac:picMkLst>
            <pc:docMk/>
            <pc:sldMk cId="1071933680" sldId="569"/>
            <ac:picMk id="40" creationId="{F55A005C-CE1C-423C-9088-00735C8BF859}"/>
          </ac:picMkLst>
        </pc:picChg>
      </pc:sldChg>
      <pc:sldChg chg="addSp delSp modSp new add mod modNotesTx">
        <pc:chgData name="Aniket Chhabra" userId="598e0514-bef3-4e71-b6aa-f2edd6441cff" providerId="ADAL" clId="{900BF137-52E4-4A71-9307-1630A0E39238}" dt="2021-06-27T03:21:37.392" v="2538" actId="20577"/>
        <pc:sldMkLst>
          <pc:docMk/>
          <pc:sldMk cId="498599180" sldId="570"/>
        </pc:sldMkLst>
        <pc:spChg chg="mod">
          <ac:chgData name="Aniket Chhabra" userId="598e0514-bef3-4e71-b6aa-f2edd6441cff" providerId="ADAL" clId="{900BF137-52E4-4A71-9307-1630A0E39238}" dt="2021-06-27T03:06:24.318" v="2416" actId="948"/>
          <ac:spMkLst>
            <pc:docMk/>
            <pc:sldMk cId="498599180" sldId="570"/>
            <ac:spMk id="2" creationId="{6E653ED2-35B1-4BF3-B6BA-A4308DF4413B}"/>
          </ac:spMkLst>
        </pc:spChg>
        <pc:spChg chg="mod">
          <ac:chgData name="Aniket Chhabra" userId="598e0514-bef3-4e71-b6aa-f2edd6441cff" providerId="ADAL" clId="{900BF137-52E4-4A71-9307-1630A0E39238}" dt="2021-06-27T03:07:52.520" v="2495" actId="403"/>
          <ac:spMkLst>
            <pc:docMk/>
            <pc:sldMk cId="498599180" sldId="570"/>
            <ac:spMk id="3" creationId="{6237DAD1-FC10-4CCB-A66F-837CA994DE4D}"/>
          </ac:spMkLst>
        </pc:spChg>
        <pc:spChg chg="add del mod modVis">
          <ac:chgData name="Aniket Chhabra" userId="598e0514-bef3-4e71-b6aa-f2edd6441cff" providerId="ADAL" clId="{900BF137-52E4-4A71-9307-1630A0E39238}" dt="2021-06-27T03:06:09.252" v="2354"/>
          <ac:spMkLst>
            <pc:docMk/>
            <pc:sldMk cId="498599180" sldId="570"/>
            <ac:spMk id="5" creationId="{727CD621-4DFF-4457-8CDF-27A37D6FADDD}"/>
          </ac:spMkLst>
        </pc:spChg>
        <pc:spChg chg="add del mod modVis">
          <ac:chgData name="Aniket Chhabra" userId="598e0514-bef3-4e71-b6aa-f2edd6441cff" providerId="ADAL" clId="{900BF137-52E4-4A71-9307-1630A0E39238}" dt="2021-06-27T03:06:10.946" v="2403"/>
          <ac:spMkLst>
            <pc:docMk/>
            <pc:sldMk cId="498599180" sldId="570"/>
            <ac:spMk id="6" creationId="{C26D8B93-CDDF-4AC2-AF86-48B8391A95FE}"/>
          </ac:spMkLst>
        </pc:spChg>
        <pc:spChg chg="add del mod modVis">
          <ac:chgData name="Aniket Chhabra" userId="598e0514-bef3-4e71-b6aa-f2edd6441cff" providerId="ADAL" clId="{900BF137-52E4-4A71-9307-1630A0E39238}" dt="2021-06-27T03:06:24.385" v="2455"/>
          <ac:spMkLst>
            <pc:docMk/>
            <pc:sldMk cId="498599180" sldId="570"/>
            <ac:spMk id="7" creationId="{CF0C924B-0DE4-4980-8B14-12A8D6247AF7}"/>
          </ac:spMkLst>
        </pc:spChg>
        <pc:spChg chg="add mod">
          <ac:chgData name="Aniket Chhabra" userId="598e0514-bef3-4e71-b6aa-f2edd6441cff" providerId="ADAL" clId="{900BF137-52E4-4A71-9307-1630A0E39238}" dt="2021-06-27T03:21:28.301" v="2523" actId="20577"/>
          <ac:spMkLst>
            <pc:docMk/>
            <pc:sldMk cId="498599180" sldId="570"/>
            <ac:spMk id="14" creationId="{760C9515-0DF6-4576-BB91-751AB58EAFAB}"/>
          </ac:spMkLst>
        </pc:spChg>
        <pc:spChg chg="add mod">
          <ac:chgData name="Aniket Chhabra" userId="598e0514-bef3-4e71-b6aa-f2edd6441cff" providerId="ADAL" clId="{900BF137-52E4-4A71-9307-1630A0E39238}" dt="2021-06-27T03:21:37.392" v="2538" actId="20577"/>
          <ac:spMkLst>
            <pc:docMk/>
            <pc:sldMk cId="498599180" sldId="570"/>
            <ac:spMk id="15" creationId="{856DF862-8371-4C1B-8E1C-CFE45C4D78A2}"/>
          </ac:spMkLst>
        </pc:spChg>
        <pc:graphicFrameChg chg="add mod ord modVis">
          <ac:chgData name="Aniket Chhabra" userId="598e0514-bef3-4e71-b6aa-f2edd6441cff" providerId="ADAL" clId="{900BF137-52E4-4A71-9307-1630A0E39238}" dt="2021-06-27T03:06:24.389" v="2457"/>
          <ac:graphicFrameMkLst>
            <pc:docMk/>
            <pc:sldMk cId="498599180" sldId="570"/>
            <ac:graphicFrameMk id="4" creationId="{54244B5D-F4CA-4641-B528-296316F3467C}"/>
          </ac:graphicFrameMkLst>
        </pc:graphicFrameChg>
        <pc:picChg chg="add mod">
          <ac:chgData name="Aniket Chhabra" userId="598e0514-bef3-4e71-b6aa-f2edd6441cff" providerId="ADAL" clId="{900BF137-52E4-4A71-9307-1630A0E39238}" dt="2021-06-27T03:21:11.657" v="2511" actId="1076"/>
          <ac:picMkLst>
            <pc:docMk/>
            <pc:sldMk cId="498599180" sldId="570"/>
            <ac:picMk id="9" creationId="{27435386-0CFA-4D29-9160-FD560541F207}"/>
          </ac:picMkLst>
        </pc:picChg>
        <pc:picChg chg="add mod">
          <ac:chgData name="Aniket Chhabra" userId="598e0514-bef3-4e71-b6aa-f2edd6441cff" providerId="ADAL" clId="{900BF137-52E4-4A71-9307-1630A0E39238}" dt="2021-06-27T03:21:11.657" v="2511" actId="1076"/>
          <ac:picMkLst>
            <pc:docMk/>
            <pc:sldMk cId="498599180" sldId="570"/>
            <ac:picMk id="11" creationId="{7D97A616-9D6B-48AF-B06D-BC7A4953DFF8}"/>
          </ac:picMkLst>
        </pc:picChg>
        <pc:picChg chg="add mod">
          <ac:chgData name="Aniket Chhabra" userId="598e0514-bef3-4e71-b6aa-f2edd6441cff" providerId="ADAL" clId="{900BF137-52E4-4A71-9307-1630A0E39238}" dt="2021-06-27T03:21:07.577" v="2510" actId="1076"/>
          <ac:picMkLst>
            <pc:docMk/>
            <pc:sldMk cId="498599180" sldId="570"/>
            <ac:picMk id="13" creationId="{2E8D9502-80B4-4259-B27E-0C959BDE6D4F}"/>
          </ac:picMkLst>
        </pc:picChg>
      </pc:sldChg>
      <pc:sldChg chg="new add del">
        <pc:chgData name="Aniket Chhabra" userId="598e0514-bef3-4e71-b6aa-f2edd6441cff" providerId="ADAL" clId="{900BF137-52E4-4A71-9307-1630A0E39238}" dt="2021-06-27T02:02:54.714" v="2285" actId="47"/>
        <pc:sldMkLst>
          <pc:docMk/>
          <pc:sldMk cId="2956675375" sldId="570"/>
        </pc:sldMkLst>
      </pc:sldChg>
      <pc:sldChg chg="addSp delSp modSp new add del mod">
        <pc:chgData name="Aniket Chhabra" userId="598e0514-bef3-4e71-b6aa-f2edd6441cff" providerId="ADAL" clId="{900BF137-52E4-4A71-9307-1630A0E39238}" dt="2021-06-27T03:26:10.181" v="2564" actId="680"/>
        <pc:sldMkLst>
          <pc:docMk/>
          <pc:sldMk cId="1491365607" sldId="571"/>
        </pc:sldMkLst>
        <pc:spChg chg="add del">
          <ac:chgData name="Aniket Chhabra" userId="598e0514-bef3-4e71-b6aa-f2edd6441cff" providerId="ADAL" clId="{900BF137-52E4-4A71-9307-1630A0E39238}" dt="2021-06-27T03:26:07.183" v="2562" actId="478"/>
          <ac:spMkLst>
            <pc:docMk/>
            <pc:sldMk cId="1491365607" sldId="571"/>
            <ac:spMk id="2" creationId="{0E15DC35-B45C-425E-AAB9-F20CAE955F4F}"/>
          </ac:spMkLst>
        </pc:spChg>
        <pc:spChg chg="add del">
          <ac:chgData name="Aniket Chhabra" userId="598e0514-bef3-4e71-b6aa-f2edd6441cff" providerId="ADAL" clId="{900BF137-52E4-4A71-9307-1630A0E39238}" dt="2021-06-27T03:26:08.731" v="2563" actId="478"/>
          <ac:spMkLst>
            <pc:docMk/>
            <pc:sldMk cId="1491365607" sldId="571"/>
            <ac:spMk id="3" creationId="{C33CB4EF-9E0F-4374-B295-B988C9DA7922}"/>
          </ac:spMkLst>
        </pc:spChg>
        <pc:graphicFrameChg chg="add mod modVis">
          <ac:chgData name="Aniket Chhabra" userId="598e0514-bef3-4e71-b6aa-f2edd6441cff" providerId="ADAL" clId="{900BF137-52E4-4A71-9307-1630A0E39238}" dt="2021-06-27T03:26:07.181" v="2561" actId="14100"/>
          <ac:graphicFrameMkLst>
            <pc:docMk/>
            <pc:sldMk cId="1491365607" sldId="571"/>
            <ac:graphicFrameMk id="4" creationId="{FB9D7E51-455F-45C3-8AB6-93B5CC0E1003}"/>
          </ac:graphicFrameMkLst>
        </pc:graphicFrameChg>
      </pc:sldChg>
      <pc:sldChg chg="addSp delSp modSp new add mod">
        <pc:chgData name="Aniket Chhabra" userId="598e0514-bef3-4e71-b6aa-f2edd6441cff" providerId="ADAL" clId="{900BF137-52E4-4A71-9307-1630A0E39238}" dt="2021-06-27T03:44:11.879" v="3077" actId="113"/>
        <pc:sldMkLst>
          <pc:docMk/>
          <pc:sldMk cId="1714708156" sldId="571"/>
        </pc:sldMkLst>
        <pc:spChg chg="mod">
          <ac:chgData name="Aniket Chhabra" userId="598e0514-bef3-4e71-b6aa-f2edd6441cff" providerId="ADAL" clId="{900BF137-52E4-4A71-9307-1630A0E39238}" dt="2021-06-27T03:41:58.848" v="2848" actId="948"/>
          <ac:spMkLst>
            <pc:docMk/>
            <pc:sldMk cId="1714708156" sldId="571"/>
            <ac:spMk id="2" creationId="{25DCDF02-03DA-4006-9CEE-4CDEA73A362D}"/>
          </ac:spMkLst>
        </pc:spChg>
        <pc:spChg chg="mod">
          <ac:chgData name="Aniket Chhabra" userId="598e0514-bef3-4e71-b6aa-f2edd6441cff" providerId="ADAL" clId="{900BF137-52E4-4A71-9307-1630A0E39238}" dt="2021-06-27T03:44:11.879" v="3077" actId="113"/>
          <ac:spMkLst>
            <pc:docMk/>
            <pc:sldMk cId="1714708156" sldId="571"/>
            <ac:spMk id="3" creationId="{8E6C1879-9C15-4C09-B0B2-E6D4B61CF571}"/>
          </ac:spMkLst>
        </pc:spChg>
        <pc:spChg chg="add del mod modVis">
          <ac:chgData name="Aniket Chhabra" userId="598e0514-bef3-4e71-b6aa-f2edd6441cff" providerId="ADAL" clId="{900BF137-52E4-4A71-9307-1630A0E39238}" dt="2021-06-27T03:26:31.363" v="2641"/>
          <ac:spMkLst>
            <pc:docMk/>
            <pc:sldMk cId="1714708156" sldId="571"/>
            <ac:spMk id="5" creationId="{C813C20A-6D43-4526-8FAB-D50DAB481AAC}"/>
          </ac:spMkLst>
        </pc:spChg>
        <pc:spChg chg="add del mod modVis">
          <ac:chgData name="Aniket Chhabra" userId="598e0514-bef3-4e71-b6aa-f2edd6441cff" providerId="ADAL" clId="{900BF137-52E4-4A71-9307-1630A0E39238}" dt="2021-06-27T03:26:32.645" v="2687"/>
          <ac:spMkLst>
            <pc:docMk/>
            <pc:sldMk cId="1714708156" sldId="571"/>
            <ac:spMk id="6" creationId="{09E448D3-F807-4601-91DD-A674E11E2853}"/>
          </ac:spMkLst>
        </pc:spChg>
        <pc:spChg chg="add del mod modVis">
          <ac:chgData name="Aniket Chhabra" userId="598e0514-bef3-4e71-b6aa-f2edd6441cff" providerId="ADAL" clId="{900BF137-52E4-4A71-9307-1630A0E39238}" dt="2021-06-27T03:26:36.739" v="2731"/>
          <ac:spMkLst>
            <pc:docMk/>
            <pc:sldMk cId="1714708156" sldId="571"/>
            <ac:spMk id="7" creationId="{F7BD9169-CB5F-46EB-B6FA-E365C35C2A2B}"/>
          </ac:spMkLst>
        </pc:spChg>
        <pc:spChg chg="add del mod modVis">
          <ac:chgData name="Aniket Chhabra" userId="598e0514-bef3-4e71-b6aa-f2edd6441cff" providerId="ADAL" clId="{900BF137-52E4-4A71-9307-1630A0E39238}" dt="2021-06-27T03:26:38.858" v="2774"/>
          <ac:spMkLst>
            <pc:docMk/>
            <pc:sldMk cId="1714708156" sldId="571"/>
            <ac:spMk id="8" creationId="{DD3A0FED-2F3B-4102-927D-AAB65A4B081C}"/>
          </ac:spMkLst>
        </pc:spChg>
        <pc:spChg chg="add del mod modVis">
          <ac:chgData name="Aniket Chhabra" userId="598e0514-bef3-4e71-b6aa-f2edd6441cff" providerId="ADAL" clId="{900BF137-52E4-4A71-9307-1630A0E39238}" dt="2021-06-27T03:26:43.854" v="2822"/>
          <ac:spMkLst>
            <pc:docMk/>
            <pc:sldMk cId="1714708156" sldId="571"/>
            <ac:spMk id="9" creationId="{0047371E-D850-4E18-A992-CE17366B6488}"/>
          </ac:spMkLst>
        </pc:spChg>
        <pc:spChg chg="add del">
          <ac:chgData name="Aniket Chhabra" userId="598e0514-bef3-4e71-b6aa-f2edd6441cff" providerId="ADAL" clId="{900BF137-52E4-4A71-9307-1630A0E39238}" dt="2021-06-27T03:41:00.506" v="2828" actId="22"/>
          <ac:spMkLst>
            <pc:docMk/>
            <pc:sldMk cId="1714708156" sldId="571"/>
            <ac:spMk id="11" creationId="{9072C960-1B78-4C54-A76F-526C6CA1D73B}"/>
          </ac:spMkLst>
        </pc:spChg>
        <pc:spChg chg="add mod">
          <ac:chgData name="Aniket Chhabra" userId="598e0514-bef3-4e71-b6aa-f2edd6441cff" providerId="ADAL" clId="{900BF137-52E4-4A71-9307-1630A0E39238}" dt="2021-06-27T03:41:18.400" v="2835" actId="1076"/>
          <ac:spMkLst>
            <pc:docMk/>
            <pc:sldMk cId="1714708156" sldId="571"/>
            <ac:spMk id="13" creationId="{8B2BB115-69AF-43B3-A858-E6D9473ED964}"/>
          </ac:spMkLst>
        </pc:spChg>
        <pc:spChg chg="add del mod modVis">
          <ac:chgData name="Aniket Chhabra" userId="598e0514-bef3-4e71-b6aa-f2edd6441cff" providerId="ADAL" clId="{900BF137-52E4-4A71-9307-1630A0E39238}" dt="2021-06-27T03:41:58.898" v="2887"/>
          <ac:spMkLst>
            <pc:docMk/>
            <pc:sldMk cId="1714708156" sldId="571"/>
            <ac:spMk id="16" creationId="{CA1A119E-7DAE-4EAE-80C1-ECAE842D8150}"/>
          </ac:spMkLst>
        </pc:spChg>
        <pc:graphicFrameChg chg="add mod ord modVis">
          <ac:chgData name="Aniket Chhabra" userId="598e0514-bef3-4e71-b6aa-f2edd6441cff" providerId="ADAL" clId="{900BF137-52E4-4A71-9307-1630A0E39238}" dt="2021-06-27T03:41:58.901" v="2889"/>
          <ac:graphicFrameMkLst>
            <pc:docMk/>
            <pc:sldMk cId="1714708156" sldId="571"/>
            <ac:graphicFrameMk id="4" creationId="{81F6C052-B03A-4414-A51E-A873066F765E}"/>
          </ac:graphicFrameMkLst>
        </pc:graphicFrameChg>
        <pc:picChg chg="add mod">
          <ac:chgData name="Aniket Chhabra" userId="598e0514-bef3-4e71-b6aa-f2edd6441cff" providerId="ADAL" clId="{900BF137-52E4-4A71-9307-1630A0E39238}" dt="2021-06-27T03:41:40.959" v="2841" actId="1076"/>
          <ac:picMkLst>
            <pc:docMk/>
            <pc:sldMk cId="1714708156" sldId="571"/>
            <ac:picMk id="15" creationId="{D105861A-E4DA-496A-906D-DDED963787D8}"/>
          </ac:picMkLst>
        </pc:picChg>
      </pc:sldChg>
      <pc:sldChg chg="addSp delSp modSp new add mod">
        <pc:chgData name="Aniket Chhabra" userId="598e0514-bef3-4e71-b6aa-f2edd6441cff" providerId="ADAL" clId="{900BF137-52E4-4A71-9307-1630A0E39238}" dt="2021-06-27T03:48:29.179" v="3147"/>
        <pc:sldMkLst>
          <pc:docMk/>
          <pc:sldMk cId="783242931" sldId="572"/>
        </pc:sldMkLst>
        <pc:spChg chg="mod">
          <ac:chgData name="Aniket Chhabra" userId="598e0514-bef3-4e71-b6aa-f2edd6441cff" providerId="ADAL" clId="{900BF137-52E4-4A71-9307-1630A0E39238}" dt="2021-06-27T03:42:10.584" v="3003" actId="948"/>
          <ac:spMkLst>
            <pc:docMk/>
            <pc:sldMk cId="783242931" sldId="572"/>
            <ac:spMk id="2" creationId="{F46CB7C6-DC9D-4ED9-B7EF-DD6A0CBB65AC}"/>
          </ac:spMkLst>
        </pc:spChg>
        <pc:spChg chg="del mod">
          <ac:chgData name="Aniket Chhabra" userId="598e0514-bef3-4e71-b6aa-f2edd6441cff" providerId="ADAL" clId="{900BF137-52E4-4A71-9307-1630A0E39238}" dt="2021-06-27T03:43:28.264" v="3047" actId="478"/>
          <ac:spMkLst>
            <pc:docMk/>
            <pc:sldMk cId="783242931" sldId="572"/>
            <ac:spMk id="3" creationId="{C8F5A77B-8E0B-4A5E-951B-213201A6FA28}"/>
          </ac:spMkLst>
        </pc:spChg>
        <pc:spChg chg="add del mod modVis">
          <ac:chgData name="Aniket Chhabra" userId="598e0514-bef3-4e71-b6aa-f2edd6441cff" providerId="ADAL" clId="{900BF137-52E4-4A71-9307-1630A0E39238}" dt="2021-06-27T03:42:04.209" v="2936"/>
          <ac:spMkLst>
            <pc:docMk/>
            <pc:sldMk cId="783242931" sldId="572"/>
            <ac:spMk id="4" creationId="{97AA176A-C78E-4372-AB25-E619C26F7986}"/>
          </ac:spMkLst>
        </pc:spChg>
        <pc:spChg chg="add del mod modVis">
          <ac:chgData name="Aniket Chhabra" userId="598e0514-bef3-4e71-b6aa-f2edd6441cff" providerId="ADAL" clId="{900BF137-52E4-4A71-9307-1630A0E39238}" dt="2021-06-27T03:42:05.191" v="2995"/>
          <ac:spMkLst>
            <pc:docMk/>
            <pc:sldMk cId="783242931" sldId="572"/>
            <ac:spMk id="6" creationId="{FF7D7B50-D9E9-44AE-9006-A632B0B6DE9E}"/>
          </ac:spMkLst>
        </pc:spChg>
        <pc:spChg chg="add del mod modVis">
          <ac:chgData name="Aniket Chhabra" userId="598e0514-bef3-4e71-b6aa-f2edd6441cff" providerId="ADAL" clId="{900BF137-52E4-4A71-9307-1630A0E39238}" dt="2021-06-27T03:42:10.634" v="3042"/>
          <ac:spMkLst>
            <pc:docMk/>
            <pc:sldMk cId="783242931" sldId="572"/>
            <ac:spMk id="7" creationId="{7106A332-DF5A-4FFD-B45A-6F8644CD41D5}"/>
          </ac:spMkLst>
        </pc:spChg>
        <pc:spChg chg="add mod">
          <ac:chgData name="Aniket Chhabra" userId="598e0514-bef3-4e71-b6aa-f2edd6441cff" providerId="ADAL" clId="{900BF137-52E4-4A71-9307-1630A0E39238}" dt="2021-06-27T03:46:35.662" v="3091" actId="1076"/>
          <ac:spMkLst>
            <pc:docMk/>
            <pc:sldMk cId="783242931" sldId="572"/>
            <ac:spMk id="13" creationId="{D6816DB2-0CD4-439D-8186-C359906BB257}"/>
          </ac:spMkLst>
        </pc:spChg>
        <pc:grpChg chg="del mod">
          <ac:chgData name="Aniket Chhabra" userId="598e0514-bef3-4e71-b6aa-f2edd6441cff" providerId="ADAL" clId="{900BF137-52E4-4A71-9307-1630A0E39238}" dt="2021-06-27T03:48:07.483" v="3119"/>
          <ac:grpSpMkLst>
            <pc:docMk/>
            <pc:sldMk cId="783242931" sldId="572"/>
            <ac:grpSpMk id="31" creationId="{386E2937-25EB-4027-8FD2-6E35DEBB66E1}"/>
          </ac:grpSpMkLst>
        </pc:grpChg>
        <pc:grpChg chg="del mod">
          <ac:chgData name="Aniket Chhabra" userId="598e0514-bef3-4e71-b6aa-f2edd6441cff" providerId="ADAL" clId="{900BF137-52E4-4A71-9307-1630A0E39238}" dt="2021-06-27T03:48:11.235" v="3125"/>
          <ac:grpSpMkLst>
            <pc:docMk/>
            <pc:sldMk cId="783242931" sldId="572"/>
            <ac:grpSpMk id="35" creationId="{626217D0-97E5-4C5D-9FDF-9E1085BFFFF3}"/>
          </ac:grpSpMkLst>
        </pc:grpChg>
        <pc:grpChg chg="del mod">
          <ac:chgData name="Aniket Chhabra" userId="598e0514-bef3-4e71-b6aa-f2edd6441cff" providerId="ADAL" clId="{900BF137-52E4-4A71-9307-1630A0E39238}" dt="2021-06-27T03:48:15.108" v="3131"/>
          <ac:grpSpMkLst>
            <pc:docMk/>
            <pc:sldMk cId="783242931" sldId="572"/>
            <ac:grpSpMk id="39" creationId="{04217674-0B29-4F10-B67B-160D3534A837}"/>
          </ac:grpSpMkLst>
        </pc:grpChg>
        <pc:grpChg chg="del mod">
          <ac:chgData name="Aniket Chhabra" userId="598e0514-bef3-4e71-b6aa-f2edd6441cff" providerId="ADAL" clId="{900BF137-52E4-4A71-9307-1630A0E39238}" dt="2021-06-27T03:48:19.734" v="3139"/>
          <ac:grpSpMkLst>
            <pc:docMk/>
            <pc:sldMk cId="783242931" sldId="572"/>
            <ac:grpSpMk id="45" creationId="{BD0CBD33-5024-4535-9866-A9E69A27B68E}"/>
          </ac:grpSpMkLst>
        </pc:grpChg>
        <pc:grpChg chg="del mod">
          <ac:chgData name="Aniket Chhabra" userId="598e0514-bef3-4e71-b6aa-f2edd6441cff" providerId="ADAL" clId="{900BF137-52E4-4A71-9307-1630A0E39238}" dt="2021-06-27T03:48:21.459" v="3142"/>
          <ac:grpSpMkLst>
            <pc:docMk/>
            <pc:sldMk cId="783242931" sldId="572"/>
            <ac:grpSpMk id="51" creationId="{66A01529-5FFB-46B7-9F5A-3A51B8BAAAE5}"/>
          </ac:grpSpMkLst>
        </pc:grpChg>
        <pc:grpChg chg="del mod">
          <ac:chgData name="Aniket Chhabra" userId="598e0514-bef3-4e71-b6aa-f2edd6441cff" providerId="ADAL" clId="{900BF137-52E4-4A71-9307-1630A0E39238}" dt="2021-06-27T03:48:23.826" v="3144"/>
          <ac:grpSpMkLst>
            <pc:docMk/>
            <pc:sldMk cId="783242931" sldId="572"/>
            <ac:grpSpMk id="54" creationId="{DFA6ECF5-A25D-4AC8-99AB-E8A78C46A9B4}"/>
          </ac:grpSpMkLst>
        </pc:grpChg>
        <pc:grpChg chg="mod">
          <ac:chgData name="Aniket Chhabra" userId="598e0514-bef3-4e71-b6aa-f2edd6441cff" providerId="ADAL" clId="{900BF137-52E4-4A71-9307-1630A0E39238}" dt="2021-06-27T03:48:29.179" v="3147"/>
          <ac:grpSpMkLst>
            <pc:docMk/>
            <pc:sldMk cId="783242931" sldId="572"/>
            <ac:grpSpMk id="56" creationId="{EF4D4830-405A-45A1-835D-11DE943E1813}"/>
          </ac:grpSpMkLst>
        </pc:grpChg>
        <pc:graphicFrameChg chg="add mod ord modVis">
          <ac:chgData name="Aniket Chhabra" userId="598e0514-bef3-4e71-b6aa-f2edd6441cff" providerId="ADAL" clId="{900BF137-52E4-4A71-9307-1630A0E39238}" dt="2021-06-27T03:42:10.637" v="3044"/>
          <ac:graphicFrameMkLst>
            <pc:docMk/>
            <pc:sldMk cId="783242931" sldId="572"/>
            <ac:graphicFrameMk id="5" creationId="{149AC772-B657-461B-A77C-824F3CD64002}"/>
          </ac:graphicFrameMkLst>
        </pc:graphicFrameChg>
        <pc:picChg chg="add mod">
          <ac:chgData name="Aniket Chhabra" userId="598e0514-bef3-4e71-b6aa-f2edd6441cff" providerId="ADAL" clId="{900BF137-52E4-4A71-9307-1630A0E39238}" dt="2021-06-27T03:43:34.470" v="3052" actId="14100"/>
          <ac:picMkLst>
            <pc:docMk/>
            <pc:sldMk cId="783242931" sldId="572"/>
            <ac:picMk id="9" creationId="{48463F1F-CB4E-422B-AA54-226928DFA33F}"/>
          </ac:picMkLst>
        </pc:picChg>
        <pc:picChg chg="add mod">
          <ac:chgData name="Aniket Chhabra" userId="598e0514-bef3-4e71-b6aa-f2edd6441cff" providerId="ADAL" clId="{900BF137-52E4-4A71-9307-1630A0E39238}" dt="2021-06-27T03:43:52.099" v="3056" actId="1076"/>
          <ac:picMkLst>
            <pc:docMk/>
            <pc:sldMk cId="783242931" sldId="572"/>
            <ac:picMk id="11" creationId="{67AC6F33-8BA1-4B12-8AB0-44F03C4B3B77}"/>
          </ac:picMkLst>
        </pc:picChg>
        <pc:picChg chg="add mod">
          <ac:chgData name="Aniket Chhabra" userId="598e0514-bef3-4e71-b6aa-f2edd6441cff" providerId="ADAL" clId="{900BF137-52E4-4A71-9307-1630A0E39238}" dt="2021-06-27T03:46:39.130" v="3093" actId="1076"/>
          <ac:picMkLst>
            <pc:docMk/>
            <pc:sldMk cId="783242931" sldId="572"/>
            <ac:picMk id="15" creationId="{9A6CA27F-203F-437F-BFD5-79197783E840}"/>
          </ac:picMkLst>
        </pc:picChg>
        <pc:inkChg chg="add del">
          <ac:chgData name="Aniket Chhabra" userId="598e0514-bef3-4e71-b6aa-f2edd6441cff" providerId="ADAL" clId="{900BF137-52E4-4A71-9307-1630A0E39238}" dt="2021-06-27T03:47:13.610" v="3095" actId="9405"/>
          <ac:inkMkLst>
            <pc:docMk/>
            <pc:sldMk cId="783242931" sldId="572"/>
            <ac:inkMk id="16" creationId="{BC306015-9DA2-4262-90AD-1235E6F89A3F}"/>
          </ac:inkMkLst>
        </pc:inkChg>
        <pc:inkChg chg="add del">
          <ac:chgData name="Aniket Chhabra" userId="598e0514-bef3-4e71-b6aa-f2edd6441cff" providerId="ADAL" clId="{900BF137-52E4-4A71-9307-1630A0E39238}" dt="2021-06-27T03:47:17.794" v="3097" actId="9405"/>
          <ac:inkMkLst>
            <pc:docMk/>
            <pc:sldMk cId="783242931" sldId="572"/>
            <ac:inkMk id="17" creationId="{91017A10-61D9-47D1-98D3-37C351C568E1}"/>
          </ac:inkMkLst>
        </pc:inkChg>
        <pc:inkChg chg="add del">
          <ac:chgData name="Aniket Chhabra" userId="598e0514-bef3-4e71-b6aa-f2edd6441cff" providerId="ADAL" clId="{900BF137-52E4-4A71-9307-1630A0E39238}" dt="2021-06-27T03:47:24.716" v="3101" actId="9405"/>
          <ac:inkMkLst>
            <pc:docMk/>
            <pc:sldMk cId="783242931" sldId="572"/>
            <ac:inkMk id="18" creationId="{5D0BC55D-E3CB-4E52-9465-DDA8128B2EC2}"/>
          </ac:inkMkLst>
        </pc:inkChg>
        <pc:inkChg chg="add del">
          <ac:chgData name="Aniket Chhabra" userId="598e0514-bef3-4e71-b6aa-f2edd6441cff" providerId="ADAL" clId="{900BF137-52E4-4A71-9307-1630A0E39238}" dt="2021-06-27T03:47:21.083" v="3100" actId="9405"/>
          <ac:inkMkLst>
            <pc:docMk/>
            <pc:sldMk cId="783242931" sldId="572"/>
            <ac:inkMk id="19" creationId="{2EAD882F-78FE-4F8D-BCEF-3BB0C7E29B26}"/>
          </ac:inkMkLst>
        </pc:inkChg>
        <pc:inkChg chg="add del">
          <ac:chgData name="Aniket Chhabra" userId="598e0514-bef3-4e71-b6aa-f2edd6441cff" providerId="ADAL" clId="{900BF137-52E4-4A71-9307-1630A0E39238}" dt="2021-06-27T03:47:35.434" v="3103" actId="9405"/>
          <ac:inkMkLst>
            <pc:docMk/>
            <pc:sldMk cId="783242931" sldId="572"/>
            <ac:inkMk id="20" creationId="{8600C842-EEB5-4436-B676-427D2B7391BB}"/>
          </ac:inkMkLst>
        </pc:inkChg>
        <pc:inkChg chg="add">
          <ac:chgData name="Aniket Chhabra" userId="598e0514-bef3-4e71-b6aa-f2edd6441cff" providerId="ADAL" clId="{900BF137-52E4-4A71-9307-1630A0E39238}" dt="2021-06-27T03:47:43.623" v="3104" actId="9405"/>
          <ac:inkMkLst>
            <pc:docMk/>
            <pc:sldMk cId="783242931" sldId="572"/>
            <ac:inkMk id="21" creationId="{94A659AC-B768-4FCB-857E-CB50F0B82770}"/>
          </ac:inkMkLst>
        </pc:inkChg>
        <pc:inkChg chg="add del">
          <ac:chgData name="Aniket Chhabra" userId="598e0514-bef3-4e71-b6aa-f2edd6441cff" providerId="ADAL" clId="{900BF137-52E4-4A71-9307-1630A0E39238}" dt="2021-06-27T03:47:47.376" v="3106" actId="9405"/>
          <ac:inkMkLst>
            <pc:docMk/>
            <pc:sldMk cId="783242931" sldId="572"/>
            <ac:inkMk id="22" creationId="{FD69234E-7DB2-4C80-A479-DC1F1C6C742B}"/>
          </ac:inkMkLst>
        </pc:inkChg>
        <pc:inkChg chg="add">
          <ac:chgData name="Aniket Chhabra" userId="598e0514-bef3-4e71-b6aa-f2edd6441cff" providerId="ADAL" clId="{900BF137-52E4-4A71-9307-1630A0E39238}" dt="2021-06-27T03:47:50.502" v="3107" actId="9405"/>
          <ac:inkMkLst>
            <pc:docMk/>
            <pc:sldMk cId="783242931" sldId="572"/>
            <ac:inkMk id="23" creationId="{2CC15204-94C6-4D23-ACA2-8AE1C472DFF1}"/>
          </ac:inkMkLst>
        </pc:inkChg>
        <pc:inkChg chg="add mod">
          <ac:chgData name="Aniket Chhabra" userId="598e0514-bef3-4e71-b6aa-f2edd6441cff" providerId="ADAL" clId="{900BF137-52E4-4A71-9307-1630A0E39238}" dt="2021-06-27T03:48:29.179" v="3147"/>
          <ac:inkMkLst>
            <pc:docMk/>
            <pc:sldMk cId="783242931" sldId="572"/>
            <ac:inkMk id="24" creationId="{A074B49C-9D02-477A-970A-767104B8259C}"/>
          </ac:inkMkLst>
        </pc:inkChg>
        <pc:inkChg chg="add mod">
          <ac:chgData name="Aniket Chhabra" userId="598e0514-bef3-4e71-b6aa-f2edd6441cff" providerId="ADAL" clId="{900BF137-52E4-4A71-9307-1630A0E39238}" dt="2021-06-27T03:48:29.179" v="3147"/>
          <ac:inkMkLst>
            <pc:docMk/>
            <pc:sldMk cId="783242931" sldId="572"/>
            <ac:inkMk id="25" creationId="{0170F980-E305-4B63-944F-97D8D5D8936A}"/>
          </ac:inkMkLst>
        </pc:inkChg>
        <pc:inkChg chg="add mod">
          <ac:chgData name="Aniket Chhabra" userId="598e0514-bef3-4e71-b6aa-f2edd6441cff" providerId="ADAL" clId="{900BF137-52E4-4A71-9307-1630A0E39238}" dt="2021-06-27T03:48:29.179" v="3147"/>
          <ac:inkMkLst>
            <pc:docMk/>
            <pc:sldMk cId="783242931" sldId="572"/>
            <ac:inkMk id="26" creationId="{A68FBBE2-617F-4CC7-8BE4-00B4480853FF}"/>
          </ac:inkMkLst>
        </pc:inkChg>
        <pc:inkChg chg="add mod">
          <ac:chgData name="Aniket Chhabra" userId="598e0514-bef3-4e71-b6aa-f2edd6441cff" providerId="ADAL" clId="{900BF137-52E4-4A71-9307-1630A0E39238}" dt="2021-06-27T03:48:29.179" v="3147"/>
          <ac:inkMkLst>
            <pc:docMk/>
            <pc:sldMk cId="783242931" sldId="572"/>
            <ac:inkMk id="27" creationId="{38F150B2-F627-4730-8516-D7054D4FCE3C}"/>
          </ac:inkMkLst>
        </pc:inkChg>
        <pc:inkChg chg="add mod">
          <ac:chgData name="Aniket Chhabra" userId="598e0514-bef3-4e71-b6aa-f2edd6441cff" providerId="ADAL" clId="{900BF137-52E4-4A71-9307-1630A0E39238}" dt="2021-06-27T03:48:29.179" v="3147"/>
          <ac:inkMkLst>
            <pc:docMk/>
            <pc:sldMk cId="783242931" sldId="572"/>
            <ac:inkMk id="28" creationId="{ECEFE3D5-5785-4861-BF8B-993A1316BFB0}"/>
          </ac:inkMkLst>
        </pc:inkChg>
        <pc:inkChg chg="add mod">
          <ac:chgData name="Aniket Chhabra" userId="598e0514-bef3-4e71-b6aa-f2edd6441cff" providerId="ADAL" clId="{900BF137-52E4-4A71-9307-1630A0E39238}" dt="2021-06-27T03:48:29.179" v="3147"/>
          <ac:inkMkLst>
            <pc:docMk/>
            <pc:sldMk cId="783242931" sldId="572"/>
            <ac:inkMk id="29" creationId="{6F441761-4CBB-4C5E-83F5-03C3CE26A1B4}"/>
          </ac:inkMkLst>
        </pc:inkChg>
        <pc:inkChg chg="add mod">
          <ac:chgData name="Aniket Chhabra" userId="598e0514-bef3-4e71-b6aa-f2edd6441cff" providerId="ADAL" clId="{900BF137-52E4-4A71-9307-1630A0E39238}" dt="2021-06-27T03:48:29.179" v="3147"/>
          <ac:inkMkLst>
            <pc:docMk/>
            <pc:sldMk cId="783242931" sldId="572"/>
            <ac:inkMk id="30" creationId="{126D51B7-15D4-40CD-82AA-FE97D7F496A2}"/>
          </ac:inkMkLst>
        </pc:inkChg>
        <pc:inkChg chg="add mod">
          <ac:chgData name="Aniket Chhabra" userId="598e0514-bef3-4e71-b6aa-f2edd6441cff" providerId="ADAL" clId="{900BF137-52E4-4A71-9307-1630A0E39238}" dt="2021-06-27T03:48:29.179" v="3147"/>
          <ac:inkMkLst>
            <pc:docMk/>
            <pc:sldMk cId="783242931" sldId="572"/>
            <ac:inkMk id="32" creationId="{44312B52-8BED-4466-B601-9E4364E13726}"/>
          </ac:inkMkLst>
        </pc:inkChg>
        <pc:inkChg chg="add mod">
          <ac:chgData name="Aniket Chhabra" userId="598e0514-bef3-4e71-b6aa-f2edd6441cff" providerId="ADAL" clId="{900BF137-52E4-4A71-9307-1630A0E39238}" dt="2021-06-27T03:48:29.179" v="3147"/>
          <ac:inkMkLst>
            <pc:docMk/>
            <pc:sldMk cId="783242931" sldId="572"/>
            <ac:inkMk id="33" creationId="{110F5042-9D75-4979-A50E-9ED77AFD10DB}"/>
          </ac:inkMkLst>
        </pc:inkChg>
        <pc:inkChg chg="add del mod">
          <ac:chgData name="Aniket Chhabra" userId="598e0514-bef3-4e71-b6aa-f2edd6441cff" providerId="ADAL" clId="{900BF137-52E4-4A71-9307-1630A0E39238}" dt="2021-06-27T03:48:09.135" v="3121"/>
          <ac:inkMkLst>
            <pc:docMk/>
            <pc:sldMk cId="783242931" sldId="572"/>
            <ac:inkMk id="34" creationId="{E3AD3C88-6CFB-459D-9014-C944F7CA6F8C}"/>
          </ac:inkMkLst>
        </pc:inkChg>
        <pc:inkChg chg="add del">
          <ac:chgData name="Aniket Chhabra" userId="598e0514-bef3-4e71-b6aa-f2edd6441cff" providerId="ADAL" clId="{900BF137-52E4-4A71-9307-1630A0E39238}" dt="2021-06-27T03:48:09.136" v="3122"/>
          <ac:inkMkLst>
            <pc:docMk/>
            <pc:sldMk cId="783242931" sldId="572"/>
            <ac:inkMk id="36" creationId="{0C73BA9D-F6EC-4554-B756-0852ABBBDAB1}"/>
          </ac:inkMkLst>
        </pc:inkChg>
        <pc:inkChg chg="add mod">
          <ac:chgData name="Aniket Chhabra" userId="598e0514-bef3-4e71-b6aa-f2edd6441cff" providerId="ADAL" clId="{900BF137-52E4-4A71-9307-1630A0E39238}" dt="2021-06-27T03:48:29.179" v="3147"/>
          <ac:inkMkLst>
            <pc:docMk/>
            <pc:sldMk cId="783242931" sldId="572"/>
            <ac:inkMk id="37" creationId="{538A67A8-2DF3-40F1-9179-0F93719BB4D9}"/>
          </ac:inkMkLst>
        </pc:inkChg>
        <pc:inkChg chg="add mod">
          <ac:chgData name="Aniket Chhabra" userId="598e0514-bef3-4e71-b6aa-f2edd6441cff" providerId="ADAL" clId="{900BF137-52E4-4A71-9307-1630A0E39238}" dt="2021-06-27T03:48:29.179" v="3147"/>
          <ac:inkMkLst>
            <pc:docMk/>
            <pc:sldMk cId="783242931" sldId="572"/>
            <ac:inkMk id="38" creationId="{AFAA7D11-7E83-409A-B960-C6C1960D46FD}"/>
          </ac:inkMkLst>
        </pc:inkChg>
        <pc:inkChg chg="add mod">
          <ac:chgData name="Aniket Chhabra" userId="598e0514-bef3-4e71-b6aa-f2edd6441cff" providerId="ADAL" clId="{900BF137-52E4-4A71-9307-1630A0E39238}" dt="2021-06-27T03:48:29.179" v="3147"/>
          <ac:inkMkLst>
            <pc:docMk/>
            <pc:sldMk cId="783242931" sldId="572"/>
            <ac:inkMk id="40" creationId="{70D3BA54-3264-4265-B2AE-9FA3199D8F48}"/>
          </ac:inkMkLst>
        </pc:inkChg>
        <pc:inkChg chg="add mod">
          <ac:chgData name="Aniket Chhabra" userId="598e0514-bef3-4e71-b6aa-f2edd6441cff" providerId="ADAL" clId="{900BF137-52E4-4A71-9307-1630A0E39238}" dt="2021-06-27T03:48:29.179" v="3147"/>
          <ac:inkMkLst>
            <pc:docMk/>
            <pc:sldMk cId="783242931" sldId="572"/>
            <ac:inkMk id="41" creationId="{CE3AF0C4-9F8B-4EE7-B18E-33E5E07E1071}"/>
          </ac:inkMkLst>
        </pc:inkChg>
        <pc:inkChg chg="add del mod">
          <ac:chgData name="Aniket Chhabra" userId="598e0514-bef3-4e71-b6aa-f2edd6441cff" providerId="ADAL" clId="{900BF137-52E4-4A71-9307-1630A0E39238}" dt="2021-06-27T03:48:28.577" v="3145"/>
          <ac:inkMkLst>
            <pc:docMk/>
            <pc:sldMk cId="783242931" sldId="572"/>
            <ac:inkMk id="42" creationId="{B289914D-754A-4DEB-85A0-C6CDB620787F}"/>
          </ac:inkMkLst>
        </pc:inkChg>
        <pc:inkChg chg="add del mod">
          <ac:chgData name="Aniket Chhabra" userId="598e0514-bef3-4e71-b6aa-f2edd6441cff" providerId="ADAL" clId="{900BF137-52E4-4A71-9307-1630A0E39238}" dt="2021-06-27T03:48:29.179" v="3147"/>
          <ac:inkMkLst>
            <pc:docMk/>
            <pc:sldMk cId="783242931" sldId="572"/>
            <ac:inkMk id="43" creationId="{35104F46-5123-47C1-919B-F8EEDD06297B}"/>
          </ac:inkMkLst>
        </pc:inkChg>
        <pc:inkChg chg="add mod">
          <ac:chgData name="Aniket Chhabra" userId="598e0514-bef3-4e71-b6aa-f2edd6441cff" providerId="ADAL" clId="{900BF137-52E4-4A71-9307-1630A0E39238}" dt="2021-06-27T03:48:29.179" v="3147"/>
          <ac:inkMkLst>
            <pc:docMk/>
            <pc:sldMk cId="783242931" sldId="572"/>
            <ac:inkMk id="44" creationId="{37425948-2561-4AA9-BD2F-AFEB797E16C8}"/>
          </ac:inkMkLst>
        </pc:inkChg>
        <pc:inkChg chg="add mod">
          <ac:chgData name="Aniket Chhabra" userId="598e0514-bef3-4e71-b6aa-f2edd6441cff" providerId="ADAL" clId="{900BF137-52E4-4A71-9307-1630A0E39238}" dt="2021-06-27T03:48:29.179" v="3147"/>
          <ac:inkMkLst>
            <pc:docMk/>
            <pc:sldMk cId="783242931" sldId="572"/>
            <ac:inkMk id="46" creationId="{6E3F4BD2-3C87-4819-8753-FBEB95FD2494}"/>
          </ac:inkMkLst>
        </pc:inkChg>
        <pc:inkChg chg="add mod">
          <ac:chgData name="Aniket Chhabra" userId="598e0514-bef3-4e71-b6aa-f2edd6441cff" providerId="ADAL" clId="{900BF137-52E4-4A71-9307-1630A0E39238}" dt="2021-06-27T03:48:29.179" v="3147"/>
          <ac:inkMkLst>
            <pc:docMk/>
            <pc:sldMk cId="783242931" sldId="572"/>
            <ac:inkMk id="47" creationId="{649C39A6-87D0-4247-85FB-8B8A3CD511B5}"/>
          </ac:inkMkLst>
        </pc:inkChg>
        <pc:inkChg chg="add mod">
          <ac:chgData name="Aniket Chhabra" userId="598e0514-bef3-4e71-b6aa-f2edd6441cff" providerId="ADAL" clId="{900BF137-52E4-4A71-9307-1630A0E39238}" dt="2021-06-27T03:48:29.179" v="3147"/>
          <ac:inkMkLst>
            <pc:docMk/>
            <pc:sldMk cId="783242931" sldId="572"/>
            <ac:inkMk id="48" creationId="{5C2A7E6C-78B4-45D6-BA09-62DA576C0F84}"/>
          </ac:inkMkLst>
        </pc:inkChg>
        <pc:inkChg chg="add del">
          <ac:chgData name="Aniket Chhabra" userId="598e0514-bef3-4e71-b6aa-f2edd6441cff" providerId="ADAL" clId="{900BF137-52E4-4A71-9307-1630A0E39238}" dt="2021-06-27T03:48:19.420" v="3137"/>
          <ac:inkMkLst>
            <pc:docMk/>
            <pc:sldMk cId="783242931" sldId="572"/>
            <ac:inkMk id="49" creationId="{CE081B44-744B-4B54-9B66-37BFD0AD9EF6}"/>
          </ac:inkMkLst>
        </pc:inkChg>
        <pc:inkChg chg="add del">
          <ac:chgData name="Aniket Chhabra" userId="598e0514-bef3-4e71-b6aa-f2edd6441cff" providerId="ADAL" clId="{900BF137-52E4-4A71-9307-1630A0E39238}" dt="2021-06-27T03:48:19.421" v="3138"/>
          <ac:inkMkLst>
            <pc:docMk/>
            <pc:sldMk cId="783242931" sldId="572"/>
            <ac:inkMk id="50" creationId="{5B955BA6-3B7F-4D79-95EB-6BCE6FBCAF45}"/>
          </ac:inkMkLst>
        </pc:inkChg>
        <pc:inkChg chg="add mod">
          <ac:chgData name="Aniket Chhabra" userId="598e0514-bef3-4e71-b6aa-f2edd6441cff" providerId="ADAL" clId="{900BF137-52E4-4A71-9307-1630A0E39238}" dt="2021-06-27T03:48:29.179" v="3147"/>
          <ac:inkMkLst>
            <pc:docMk/>
            <pc:sldMk cId="783242931" sldId="572"/>
            <ac:inkMk id="52" creationId="{B50067FE-E677-4456-8989-49504D40C027}"/>
          </ac:inkMkLst>
        </pc:inkChg>
        <pc:inkChg chg="add mod">
          <ac:chgData name="Aniket Chhabra" userId="598e0514-bef3-4e71-b6aa-f2edd6441cff" providerId="ADAL" clId="{900BF137-52E4-4A71-9307-1630A0E39238}" dt="2021-06-27T03:48:29.179" v="3147"/>
          <ac:inkMkLst>
            <pc:docMk/>
            <pc:sldMk cId="783242931" sldId="572"/>
            <ac:inkMk id="53" creationId="{026E1CC7-C606-4F60-A85C-96A6C6354303}"/>
          </ac:inkMkLst>
        </pc:inkChg>
        <pc:inkChg chg="add del mod">
          <ac:chgData name="Aniket Chhabra" userId="598e0514-bef3-4e71-b6aa-f2edd6441cff" providerId="ADAL" clId="{900BF137-52E4-4A71-9307-1630A0E39238}" dt="2021-06-27T03:48:28.578" v="3146"/>
          <ac:inkMkLst>
            <pc:docMk/>
            <pc:sldMk cId="783242931" sldId="572"/>
            <ac:inkMk id="55" creationId="{0F1E13C0-6AC3-4C4D-9AAA-4576272BB64D}"/>
          </ac:inkMkLst>
        </pc:inkChg>
      </pc:sldChg>
      <pc:sldMasterChg chg="del delSldLayout">
        <pc:chgData name="Aniket Chhabra" userId="598e0514-bef3-4e71-b6aa-f2edd6441cff" providerId="ADAL" clId="{900BF137-52E4-4A71-9307-1630A0E39238}" dt="2021-06-27T01:57:12.643" v="769" actId="47"/>
        <pc:sldMasterMkLst>
          <pc:docMk/>
          <pc:sldMasterMk cId="3344638216" sldId="2147483661"/>
        </pc:sldMasterMkLst>
        <pc:sldLayoutChg chg="del">
          <pc:chgData name="Aniket Chhabra" userId="598e0514-bef3-4e71-b6aa-f2edd6441cff" providerId="ADAL" clId="{900BF137-52E4-4A71-9307-1630A0E39238}" dt="2021-06-27T01:57:12.643" v="769" actId="47"/>
          <pc:sldLayoutMkLst>
            <pc:docMk/>
            <pc:sldMasterMk cId="3344638216" sldId="2147483661"/>
            <pc:sldLayoutMk cId="3633486246" sldId="2147483662"/>
          </pc:sldLayoutMkLst>
        </pc:sldLayoutChg>
        <pc:sldLayoutChg chg="del">
          <pc:chgData name="Aniket Chhabra" userId="598e0514-bef3-4e71-b6aa-f2edd6441cff" providerId="ADAL" clId="{900BF137-52E4-4A71-9307-1630A0E39238}" dt="2021-06-27T01:57:12.643" v="769" actId="47"/>
          <pc:sldLayoutMkLst>
            <pc:docMk/>
            <pc:sldMasterMk cId="3344638216" sldId="2147483661"/>
            <pc:sldLayoutMk cId="4276359198" sldId="2147483663"/>
          </pc:sldLayoutMkLst>
        </pc:sldLayoutChg>
        <pc:sldLayoutChg chg="del">
          <pc:chgData name="Aniket Chhabra" userId="598e0514-bef3-4e71-b6aa-f2edd6441cff" providerId="ADAL" clId="{900BF137-52E4-4A71-9307-1630A0E39238}" dt="2021-06-27T01:57:12.643" v="769" actId="47"/>
          <pc:sldLayoutMkLst>
            <pc:docMk/>
            <pc:sldMasterMk cId="3344638216" sldId="2147483661"/>
            <pc:sldLayoutMk cId="2282367992" sldId="2147483664"/>
          </pc:sldLayoutMkLst>
        </pc:sldLayoutChg>
        <pc:sldLayoutChg chg="del">
          <pc:chgData name="Aniket Chhabra" userId="598e0514-bef3-4e71-b6aa-f2edd6441cff" providerId="ADAL" clId="{900BF137-52E4-4A71-9307-1630A0E39238}" dt="2021-06-27T01:57:12.643" v="769" actId="47"/>
          <pc:sldLayoutMkLst>
            <pc:docMk/>
            <pc:sldMasterMk cId="3344638216" sldId="2147483661"/>
            <pc:sldLayoutMk cId="2581072338" sldId="2147483665"/>
          </pc:sldLayoutMkLst>
        </pc:sldLayoutChg>
        <pc:sldLayoutChg chg="del">
          <pc:chgData name="Aniket Chhabra" userId="598e0514-bef3-4e71-b6aa-f2edd6441cff" providerId="ADAL" clId="{900BF137-52E4-4A71-9307-1630A0E39238}" dt="2021-06-27T01:57:12.643" v="769" actId="47"/>
          <pc:sldLayoutMkLst>
            <pc:docMk/>
            <pc:sldMasterMk cId="3344638216" sldId="2147483661"/>
            <pc:sldLayoutMk cId="3148615972" sldId="2147483666"/>
          </pc:sldLayoutMkLst>
        </pc:sldLayoutChg>
        <pc:sldLayoutChg chg="del">
          <pc:chgData name="Aniket Chhabra" userId="598e0514-bef3-4e71-b6aa-f2edd6441cff" providerId="ADAL" clId="{900BF137-52E4-4A71-9307-1630A0E39238}" dt="2021-06-27T01:57:12.643" v="769" actId="47"/>
          <pc:sldLayoutMkLst>
            <pc:docMk/>
            <pc:sldMasterMk cId="3344638216" sldId="2147483661"/>
            <pc:sldLayoutMk cId="277908827" sldId="2147483667"/>
          </pc:sldLayoutMkLst>
        </pc:sldLayoutChg>
        <pc:sldLayoutChg chg="del">
          <pc:chgData name="Aniket Chhabra" userId="598e0514-bef3-4e71-b6aa-f2edd6441cff" providerId="ADAL" clId="{900BF137-52E4-4A71-9307-1630A0E39238}" dt="2021-06-27T01:57:12.643" v="769" actId="47"/>
          <pc:sldLayoutMkLst>
            <pc:docMk/>
            <pc:sldMasterMk cId="3344638216" sldId="2147483661"/>
            <pc:sldLayoutMk cId="2078935218" sldId="2147483668"/>
          </pc:sldLayoutMkLst>
        </pc:sldLayoutChg>
        <pc:sldLayoutChg chg="del">
          <pc:chgData name="Aniket Chhabra" userId="598e0514-bef3-4e71-b6aa-f2edd6441cff" providerId="ADAL" clId="{900BF137-52E4-4A71-9307-1630A0E39238}" dt="2021-06-27T01:57:12.643" v="769" actId="47"/>
          <pc:sldLayoutMkLst>
            <pc:docMk/>
            <pc:sldMasterMk cId="3344638216" sldId="2147483661"/>
            <pc:sldLayoutMk cId="1245847180" sldId="2147483669"/>
          </pc:sldLayoutMkLst>
        </pc:sldLayoutChg>
      </pc:sldMasterChg>
      <pc:sldMasterChg chg="del delSldLayout">
        <pc:chgData name="Aniket Chhabra" userId="598e0514-bef3-4e71-b6aa-f2edd6441cff" providerId="ADAL" clId="{900BF137-52E4-4A71-9307-1630A0E39238}" dt="2021-06-27T01:59:15.478" v="1484" actId="47"/>
        <pc:sldMasterMkLst>
          <pc:docMk/>
          <pc:sldMasterMk cId="2735795733" sldId="2147483670"/>
        </pc:sldMasterMkLst>
        <pc:sldLayoutChg chg="del">
          <pc:chgData name="Aniket Chhabra" userId="598e0514-bef3-4e71-b6aa-f2edd6441cff" providerId="ADAL" clId="{900BF137-52E4-4A71-9307-1630A0E39238}" dt="2021-06-27T01:59:15.478" v="1484" actId="47"/>
          <pc:sldLayoutMkLst>
            <pc:docMk/>
            <pc:sldMasterMk cId="2735795733" sldId="2147483670"/>
            <pc:sldLayoutMk cId="1296904720" sldId="2147483671"/>
          </pc:sldLayoutMkLst>
        </pc:sldLayoutChg>
        <pc:sldLayoutChg chg="del">
          <pc:chgData name="Aniket Chhabra" userId="598e0514-bef3-4e71-b6aa-f2edd6441cff" providerId="ADAL" clId="{900BF137-52E4-4A71-9307-1630A0E39238}" dt="2021-06-27T01:59:15.478" v="1484" actId="47"/>
          <pc:sldLayoutMkLst>
            <pc:docMk/>
            <pc:sldMasterMk cId="2735795733" sldId="2147483670"/>
            <pc:sldLayoutMk cId="253309891" sldId="2147483672"/>
          </pc:sldLayoutMkLst>
        </pc:sldLayoutChg>
        <pc:sldLayoutChg chg="del">
          <pc:chgData name="Aniket Chhabra" userId="598e0514-bef3-4e71-b6aa-f2edd6441cff" providerId="ADAL" clId="{900BF137-52E4-4A71-9307-1630A0E39238}" dt="2021-06-27T01:59:15.478" v="1484" actId="47"/>
          <pc:sldLayoutMkLst>
            <pc:docMk/>
            <pc:sldMasterMk cId="2735795733" sldId="2147483670"/>
            <pc:sldLayoutMk cId="2917189247" sldId="2147483673"/>
          </pc:sldLayoutMkLst>
        </pc:sldLayoutChg>
        <pc:sldLayoutChg chg="del">
          <pc:chgData name="Aniket Chhabra" userId="598e0514-bef3-4e71-b6aa-f2edd6441cff" providerId="ADAL" clId="{900BF137-52E4-4A71-9307-1630A0E39238}" dt="2021-06-27T01:59:15.478" v="1484" actId="47"/>
          <pc:sldLayoutMkLst>
            <pc:docMk/>
            <pc:sldMasterMk cId="2735795733" sldId="2147483670"/>
            <pc:sldLayoutMk cId="2040779197" sldId="2147483674"/>
          </pc:sldLayoutMkLst>
        </pc:sldLayoutChg>
        <pc:sldLayoutChg chg="del">
          <pc:chgData name="Aniket Chhabra" userId="598e0514-bef3-4e71-b6aa-f2edd6441cff" providerId="ADAL" clId="{900BF137-52E4-4A71-9307-1630A0E39238}" dt="2021-06-27T01:59:15.478" v="1484" actId="47"/>
          <pc:sldLayoutMkLst>
            <pc:docMk/>
            <pc:sldMasterMk cId="2735795733" sldId="2147483670"/>
            <pc:sldLayoutMk cId="2776296120" sldId="2147483675"/>
          </pc:sldLayoutMkLst>
        </pc:sldLayoutChg>
        <pc:sldLayoutChg chg="del">
          <pc:chgData name="Aniket Chhabra" userId="598e0514-bef3-4e71-b6aa-f2edd6441cff" providerId="ADAL" clId="{900BF137-52E4-4A71-9307-1630A0E39238}" dt="2021-06-27T01:59:15.478" v="1484" actId="47"/>
          <pc:sldLayoutMkLst>
            <pc:docMk/>
            <pc:sldMasterMk cId="2735795733" sldId="2147483670"/>
            <pc:sldLayoutMk cId="758542965" sldId="2147483676"/>
          </pc:sldLayoutMkLst>
        </pc:sldLayoutChg>
        <pc:sldLayoutChg chg="del">
          <pc:chgData name="Aniket Chhabra" userId="598e0514-bef3-4e71-b6aa-f2edd6441cff" providerId="ADAL" clId="{900BF137-52E4-4A71-9307-1630A0E39238}" dt="2021-06-27T01:59:15.478" v="1484" actId="47"/>
          <pc:sldLayoutMkLst>
            <pc:docMk/>
            <pc:sldMasterMk cId="2735795733" sldId="2147483670"/>
            <pc:sldLayoutMk cId="3600085490" sldId="2147483677"/>
          </pc:sldLayoutMkLst>
        </pc:sldLayoutChg>
        <pc:sldLayoutChg chg="del">
          <pc:chgData name="Aniket Chhabra" userId="598e0514-bef3-4e71-b6aa-f2edd6441cff" providerId="ADAL" clId="{900BF137-52E4-4A71-9307-1630A0E39238}" dt="2021-06-27T01:59:15.478" v="1484" actId="47"/>
          <pc:sldLayoutMkLst>
            <pc:docMk/>
            <pc:sldMasterMk cId="2735795733" sldId="2147483670"/>
            <pc:sldLayoutMk cId="4227247913" sldId="2147483678"/>
          </pc:sldLayoutMkLst>
        </pc:sldLayoutChg>
      </pc:sldMasterChg>
      <pc:sldMasterChg chg="del delSldLayout">
        <pc:chgData name="Aniket Chhabra" userId="598e0514-bef3-4e71-b6aa-f2edd6441cff" providerId="ADAL" clId="{900BF137-52E4-4A71-9307-1630A0E39238}" dt="2021-06-27T02:02:16.417" v="2269" actId="47"/>
        <pc:sldMasterMkLst>
          <pc:docMk/>
          <pc:sldMasterMk cId="3125976051" sldId="2147483679"/>
        </pc:sldMasterMkLst>
        <pc:sldLayoutChg chg="del">
          <pc:chgData name="Aniket Chhabra" userId="598e0514-bef3-4e71-b6aa-f2edd6441cff" providerId="ADAL" clId="{900BF137-52E4-4A71-9307-1630A0E39238}" dt="2021-06-27T02:02:16.417" v="2269" actId="47"/>
          <pc:sldLayoutMkLst>
            <pc:docMk/>
            <pc:sldMasterMk cId="3125976051" sldId="2147483679"/>
            <pc:sldLayoutMk cId="1552686457" sldId="2147483680"/>
          </pc:sldLayoutMkLst>
        </pc:sldLayoutChg>
        <pc:sldLayoutChg chg="del">
          <pc:chgData name="Aniket Chhabra" userId="598e0514-bef3-4e71-b6aa-f2edd6441cff" providerId="ADAL" clId="{900BF137-52E4-4A71-9307-1630A0E39238}" dt="2021-06-27T02:02:16.417" v="2269" actId="47"/>
          <pc:sldLayoutMkLst>
            <pc:docMk/>
            <pc:sldMasterMk cId="3125976051" sldId="2147483679"/>
            <pc:sldLayoutMk cId="494807185" sldId="2147483681"/>
          </pc:sldLayoutMkLst>
        </pc:sldLayoutChg>
        <pc:sldLayoutChg chg="del">
          <pc:chgData name="Aniket Chhabra" userId="598e0514-bef3-4e71-b6aa-f2edd6441cff" providerId="ADAL" clId="{900BF137-52E4-4A71-9307-1630A0E39238}" dt="2021-06-27T02:02:16.417" v="2269" actId="47"/>
          <pc:sldLayoutMkLst>
            <pc:docMk/>
            <pc:sldMasterMk cId="3125976051" sldId="2147483679"/>
            <pc:sldLayoutMk cId="3706332641" sldId="2147483682"/>
          </pc:sldLayoutMkLst>
        </pc:sldLayoutChg>
        <pc:sldLayoutChg chg="del">
          <pc:chgData name="Aniket Chhabra" userId="598e0514-bef3-4e71-b6aa-f2edd6441cff" providerId="ADAL" clId="{900BF137-52E4-4A71-9307-1630A0E39238}" dt="2021-06-27T02:02:16.417" v="2269" actId="47"/>
          <pc:sldLayoutMkLst>
            <pc:docMk/>
            <pc:sldMasterMk cId="3125976051" sldId="2147483679"/>
            <pc:sldLayoutMk cId="3087920211" sldId="2147483683"/>
          </pc:sldLayoutMkLst>
        </pc:sldLayoutChg>
        <pc:sldLayoutChg chg="del">
          <pc:chgData name="Aniket Chhabra" userId="598e0514-bef3-4e71-b6aa-f2edd6441cff" providerId="ADAL" clId="{900BF137-52E4-4A71-9307-1630A0E39238}" dt="2021-06-27T02:02:16.417" v="2269" actId="47"/>
          <pc:sldLayoutMkLst>
            <pc:docMk/>
            <pc:sldMasterMk cId="3125976051" sldId="2147483679"/>
            <pc:sldLayoutMk cId="2263505723" sldId="2147483684"/>
          </pc:sldLayoutMkLst>
        </pc:sldLayoutChg>
        <pc:sldLayoutChg chg="del">
          <pc:chgData name="Aniket Chhabra" userId="598e0514-bef3-4e71-b6aa-f2edd6441cff" providerId="ADAL" clId="{900BF137-52E4-4A71-9307-1630A0E39238}" dt="2021-06-27T02:02:16.417" v="2269" actId="47"/>
          <pc:sldLayoutMkLst>
            <pc:docMk/>
            <pc:sldMasterMk cId="3125976051" sldId="2147483679"/>
            <pc:sldLayoutMk cId="3888098066" sldId="2147483685"/>
          </pc:sldLayoutMkLst>
        </pc:sldLayoutChg>
        <pc:sldLayoutChg chg="del">
          <pc:chgData name="Aniket Chhabra" userId="598e0514-bef3-4e71-b6aa-f2edd6441cff" providerId="ADAL" clId="{900BF137-52E4-4A71-9307-1630A0E39238}" dt="2021-06-27T02:02:16.417" v="2269" actId="47"/>
          <pc:sldLayoutMkLst>
            <pc:docMk/>
            <pc:sldMasterMk cId="3125976051" sldId="2147483679"/>
            <pc:sldLayoutMk cId="4100097074" sldId="2147483686"/>
          </pc:sldLayoutMkLst>
        </pc:sldLayoutChg>
        <pc:sldLayoutChg chg="del">
          <pc:chgData name="Aniket Chhabra" userId="598e0514-bef3-4e71-b6aa-f2edd6441cff" providerId="ADAL" clId="{900BF137-52E4-4A71-9307-1630A0E39238}" dt="2021-06-27T02:02:16.417" v="2269" actId="47"/>
          <pc:sldLayoutMkLst>
            <pc:docMk/>
            <pc:sldMasterMk cId="3125976051" sldId="2147483679"/>
            <pc:sldLayoutMk cId="4078486537" sldId="2147483687"/>
          </pc:sldLayoutMkLst>
        </pc:sldLayoutChg>
      </pc:sldMasterChg>
      <pc:sldMasterChg chg="del delSldLayout">
        <pc:chgData name="Aniket Chhabra" userId="598e0514-bef3-4e71-b6aa-f2edd6441cff" providerId="ADAL" clId="{900BF137-52E4-4A71-9307-1630A0E39238}" dt="2021-06-27T02:02:16.417" v="2269" actId="47"/>
        <pc:sldMasterMkLst>
          <pc:docMk/>
          <pc:sldMasterMk cId="2394695097" sldId="2147483688"/>
        </pc:sldMasterMkLst>
        <pc:sldLayoutChg chg="del">
          <pc:chgData name="Aniket Chhabra" userId="598e0514-bef3-4e71-b6aa-f2edd6441cff" providerId="ADAL" clId="{900BF137-52E4-4A71-9307-1630A0E39238}" dt="2021-06-27T02:02:16.417" v="2269" actId="47"/>
          <pc:sldLayoutMkLst>
            <pc:docMk/>
            <pc:sldMasterMk cId="2394695097" sldId="2147483688"/>
            <pc:sldLayoutMk cId="2181668375" sldId="2147483689"/>
          </pc:sldLayoutMkLst>
        </pc:sldLayoutChg>
        <pc:sldLayoutChg chg="del">
          <pc:chgData name="Aniket Chhabra" userId="598e0514-bef3-4e71-b6aa-f2edd6441cff" providerId="ADAL" clId="{900BF137-52E4-4A71-9307-1630A0E39238}" dt="2021-06-27T02:02:16.417" v="2269" actId="47"/>
          <pc:sldLayoutMkLst>
            <pc:docMk/>
            <pc:sldMasterMk cId="2394695097" sldId="2147483688"/>
            <pc:sldLayoutMk cId="2750962361" sldId="2147483690"/>
          </pc:sldLayoutMkLst>
        </pc:sldLayoutChg>
        <pc:sldLayoutChg chg="del">
          <pc:chgData name="Aniket Chhabra" userId="598e0514-bef3-4e71-b6aa-f2edd6441cff" providerId="ADAL" clId="{900BF137-52E4-4A71-9307-1630A0E39238}" dt="2021-06-27T02:02:16.417" v="2269" actId="47"/>
          <pc:sldLayoutMkLst>
            <pc:docMk/>
            <pc:sldMasterMk cId="2394695097" sldId="2147483688"/>
            <pc:sldLayoutMk cId="3461563690" sldId="2147483691"/>
          </pc:sldLayoutMkLst>
        </pc:sldLayoutChg>
        <pc:sldLayoutChg chg="del">
          <pc:chgData name="Aniket Chhabra" userId="598e0514-bef3-4e71-b6aa-f2edd6441cff" providerId="ADAL" clId="{900BF137-52E4-4A71-9307-1630A0E39238}" dt="2021-06-27T02:02:16.417" v="2269" actId="47"/>
          <pc:sldLayoutMkLst>
            <pc:docMk/>
            <pc:sldMasterMk cId="2394695097" sldId="2147483688"/>
            <pc:sldLayoutMk cId="373241072" sldId="2147483692"/>
          </pc:sldLayoutMkLst>
        </pc:sldLayoutChg>
        <pc:sldLayoutChg chg="del">
          <pc:chgData name="Aniket Chhabra" userId="598e0514-bef3-4e71-b6aa-f2edd6441cff" providerId="ADAL" clId="{900BF137-52E4-4A71-9307-1630A0E39238}" dt="2021-06-27T02:02:16.417" v="2269" actId="47"/>
          <pc:sldLayoutMkLst>
            <pc:docMk/>
            <pc:sldMasterMk cId="2394695097" sldId="2147483688"/>
            <pc:sldLayoutMk cId="2491242079" sldId="2147483693"/>
          </pc:sldLayoutMkLst>
        </pc:sldLayoutChg>
        <pc:sldLayoutChg chg="del">
          <pc:chgData name="Aniket Chhabra" userId="598e0514-bef3-4e71-b6aa-f2edd6441cff" providerId="ADAL" clId="{900BF137-52E4-4A71-9307-1630A0E39238}" dt="2021-06-27T02:02:16.417" v="2269" actId="47"/>
          <pc:sldLayoutMkLst>
            <pc:docMk/>
            <pc:sldMasterMk cId="2394695097" sldId="2147483688"/>
            <pc:sldLayoutMk cId="2698080238" sldId="2147483694"/>
          </pc:sldLayoutMkLst>
        </pc:sldLayoutChg>
        <pc:sldLayoutChg chg="del">
          <pc:chgData name="Aniket Chhabra" userId="598e0514-bef3-4e71-b6aa-f2edd6441cff" providerId="ADAL" clId="{900BF137-52E4-4A71-9307-1630A0E39238}" dt="2021-06-27T02:02:16.417" v="2269" actId="47"/>
          <pc:sldLayoutMkLst>
            <pc:docMk/>
            <pc:sldMasterMk cId="2394695097" sldId="2147483688"/>
            <pc:sldLayoutMk cId="3310740090" sldId="2147483695"/>
          </pc:sldLayoutMkLst>
        </pc:sldLayoutChg>
        <pc:sldLayoutChg chg="del">
          <pc:chgData name="Aniket Chhabra" userId="598e0514-bef3-4e71-b6aa-f2edd6441cff" providerId="ADAL" clId="{900BF137-52E4-4A71-9307-1630A0E39238}" dt="2021-06-27T02:02:16.417" v="2269" actId="47"/>
          <pc:sldLayoutMkLst>
            <pc:docMk/>
            <pc:sldMasterMk cId="2394695097" sldId="2147483688"/>
            <pc:sldLayoutMk cId="3752946050" sldId="2147483696"/>
          </pc:sldLayoutMkLst>
        </pc:sldLayoutChg>
      </pc:sldMasterChg>
      <pc:sldMasterChg chg="del delSldLayout">
        <pc:chgData name="Aniket Chhabra" userId="598e0514-bef3-4e71-b6aa-f2edd6441cff" providerId="ADAL" clId="{900BF137-52E4-4A71-9307-1630A0E39238}" dt="2021-06-27T02:02:16.417" v="2269" actId="47"/>
        <pc:sldMasterMkLst>
          <pc:docMk/>
          <pc:sldMasterMk cId="3257670472" sldId="2147483697"/>
        </pc:sldMasterMkLst>
        <pc:sldLayoutChg chg="del">
          <pc:chgData name="Aniket Chhabra" userId="598e0514-bef3-4e71-b6aa-f2edd6441cff" providerId="ADAL" clId="{900BF137-52E4-4A71-9307-1630A0E39238}" dt="2021-06-27T02:02:16.417" v="2269" actId="47"/>
          <pc:sldLayoutMkLst>
            <pc:docMk/>
            <pc:sldMasterMk cId="3257670472" sldId="2147483697"/>
            <pc:sldLayoutMk cId="2369101601" sldId="2147483698"/>
          </pc:sldLayoutMkLst>
        </pc:sldLayoutChg>
        <pc:sldLayoutChg chg="del">
          <pc:chgData name="Aniket Chhabra" userId="598e0514-bef3-4e71-b6aa-f2edd6441cff" providerId="ADAL" clId="{900BF137-52E4-4A71-9307-1630A0E39238}" dt="2021-06-27T02:02:16.417" v="2269" actId="47"/>
          <pc:sldLayoutMkLst>
            <pc:docMk/>
            <pc:sldMasterMk cId="3257670472" sldId="2147483697"/>
            <pc:sldLayoutMk cId="3268963724" sldId="2147483699"/>
          </pc:sldLayoutMkLst>
        </pc:sldLayoutChg>
        <pc:sldLayoutChg chg="del">
          <pc:chgData name="Aniket Chhabra" userId="598e0514-bef3-4e71-b6aa-f2edd6441cff" providerId="ADAL" clId="{900BF137-52E4-4A71-9307-1630A0E39238}" dt="2021-06-27T02:02:16.417" v="2269" actId="47"/>
          <pc:sldLayoutMkLst>
            <pc:docMk/>
            <pc:sldMasterMk cId="3257670472" sldId="2147483697"/>
            <pc:sldLayoutMk cId="1016415759" sldId="2147483700"/>
          </pc:sldLayoutMkLst>
        </pc:sldLayoutChg>
        <pc:sldLayoutChg chg="del">
          <pc:chgData name="Aniket Chhabra" userId="598e0514-bef3-4e71-b6aa-f2edd6441cff" providerId="ADAL" clId="{900BF137-52E4-4A71-9307-1630A0E39238}" dt="2021-06-27T02:02:16.417" v="2269" actId="47"/>
          <pc:sldLayoutMkLst>
            <pc:docMk/>
            <pc:sldMasterMk cId="3257670472" sldId="2147483697"/>
            <pc:sldLayoutMk cId="3956541006" sldId="2147483701"/>
          </pc:sldLayoutMkLst>
        </pc:sldLayoutChg>
        <pc:sldLayoutChg chg="del">
          <pc:chgData name="Aniket Chhabra" userId="598e0514-bef3-4e71-b6aa-f2edd6441cff" providerId="ADAL" clId="{900BF137-52E4-4A71-9307-1630A0E39238}" dt="2021-06-27T02:02:16.417" v="2269" actId="47"/>
          <pc:sldLayoutMkLst>
            <pc:docMk/>
            <pc:sldMasterMk cId="3257670472" sldId="2147483697"/>
            <pc:sldLayoutMk cId="1980658918" sldId="2147483702"/>
          </pc:sldLayoutMkLst>
        </pc:sldLayoutChg>
        <pc:sldLayoutChg chg="del">
          <pc:chgData name="Aniket Chhabra" userId="598e0514-bef3-4e71-b6aa-f2edd6441cff" providerId="ADAL" clId="{900BF137-52E4-4A71-9307-1630A0E39238}" dt="2021-06-27T02:02:16.417" v="2269" actId="47"/>
          <pc:sldLayoutMkLst>
            <pc:docMk/>
            <pc:sldMasterMk cId="3257670472" sldId="2147483697"/>
            <pc:sldLayoutMk cId="1461091652" sldId="2147483703"/>
          </pc:sldLayoutMkLst>
        </pc:sldLayoutChg>
        <pc:sldLayoutChg chg="del">
          <pc:chgData name="Aniket Chhabra" userId="598e0514-bef3-4e71-b6aa-f2edd6441cff" providerId="ADAL" clId="{900BF137-52E4-4A71-9307-1630A0E39238}" dt="2021-06-27T02:02:16.417" v="2269" actId="47"/>
          <pc:sldLayoutMkLst>
            <pc:docMk/>
            <pc:sldMasterMk cId="3257670472" sldId="2147483697"/>
            <pc:sldLayoutMk cId="3956287819" sldId="2147483704"/>
          </pc:sldLayoutMkLst>
        </pc:sldLayoutChg>
        <pc:sldLayoutChg chg="del">
          <pc:chgData name="Aniket Chhabra" userId="598e0514-bef3-4e71-b6aa-f2edd6441cff" providerId="ADAL" clId="{900BF137-52E4-4A71-9307-1630A0E39238}" dt="2021-06-27T02:02:16.417" v="2269" actId="47"/>
          <pc:sldLayoutMkLst>
            <pc:docMk/>
            <pc:sldMasterMk cId="3257670472" sldId="2147483697"/>
            <pc:sldLayoutMk cId="189747706" sldId="2147483705"/>
          </pc:sldLayoutMkLst>
        </pc:sldLayoutChg>
        <pc:sldLayoutChg chg="del">
          <pc:chgData name="Aniket Chhabra" userId="598e0514-bef3-4e71-b6aa-f2edd6441cff" providerId="ADAL" clId="{900BF137-52E4-4A71-9307-1630A0E39238}" dt="2021-06-27T02:02:16.417" v="2269" actId="47"/>
          <pc:sldLayoutMkLst>
            <pc:docMk/>
            <pc:sldMasterMk cId="3257670472" sldId="2147483697"/>
            <pc:sldLayoutMk cId="904947236" sldId="2147483706"/>
          </pc:sldLayoutMkLst>
        </pc:sldLayoutChg>
        <pc:sldLayoutChg chg="del">
          <pc:chgData name="Aniket Chhabra" userId="598e0514-bef3-4e71-b6aa-f2edd6441cff" providerId="ADAL" clId="{900BF137-52E4-4A71-9307-1630A0E39238}" dt="2021-06-27T02:02:16.417" v="2269" actId="47"/>
          <pc:sldLayoutMkLst>
            <pc:docMk/>
            <pc:sldMasterMk cId="3257670472" sldId="2147483697"/>
            <pc:sldLayoutMk cId="1003578560" sldId="2147483707"/>
          </pc:sldLayoutMkLst>
        </pc:sldLayoutChg>
        <pc:sldLayoutChg chg="del">
          <pc:chgData name="Aniket Chhabra" userId="598e0514-bef3-4e71-b6aa-f2edd6441cff" providerId="ADAL" clId="{900BF137-52E4-4A71-9307-1630A0E39238}" dt="2021-06-27T02:02:16.417" v="2269" actId="47"/>
          <pc:sldLayoutMkLst>
            <pc:docMk/>
            <pc:sldMasterMk cId="3257670472" sldId="2147483697"/>
            <pc:sldLayoutMk cId="3914647488" sldId="2147483708"/>
          </pc:sldLayoutMkLst>
        </pc:sldLayoutChg>
      </pc:sldMasterChg>
    </pc:docChg>
  </pc:docChgLst>
  <pc:docChgLst>
    <pc:chgData name="Chhabra, Aniket" userId="598e0514-bef3-4e71-b6aa-f2edd6441cff" providerId="ADAL" clId="{3A0A5D55-ED04-41A6-8F2E-B69EB9F4FF13}"/>
    <pc:docChg chg="undo redo custSel addSld delSld modSld sldOrd">
      <pc:chgData name="Chhabra, Aniket" userId="598e0514-bef3-4e71-b6aa-f2edd6441cff" providerId="ADAL" clId="{3A0A5D55-ED04-41A6-8F2E-B69EB9F4FF13}" dt="2020-10-17T19:45:47.426" v="8476" actId="14100"/>
      <pc:docMkLst>
        <pc:docMk/>
      </pc:docMkLst>
      <pc:sldChg chg="addSp modSp mod">
        <pc:chgData name="Chhabra, Aniket" userId="598e0514-bef3-4e71-b6aa-f2edd6441cff" providerId="ADAL" clId="{3A0A5D55-ED04-41A6-8F2E-B69EB9F4FF13}" dt="2020-10-12T11:20:09.530" v="1109" actId="14100"/>
        <pc:sldMkLst>
          <pc:docMk/>
          <pc:sldMk cId="508082456" sldId="256"/>
        </pc:sldMkLst>
        <pc:spChg chg="mod ord">
          <ac:chgData name="Chhabra, Aniket" userId="598e0514-bef3-4e71-b6aa-f2edd6441cff" providerId="ADAL" clId="{3A0A5D55-ED04-41A6-8F2E-B69EB9F4FF13}" dt="2020-10-12T11:20:01.698" v="1081" actId="113"/>
          <ac:spMkLst>
            <pc:docMk/>
            <pc:sldMk cId="508082456" sldId="256"/>
            <ac:spMk id="2" creationId="{E814EA09-9823-40BC-A03A-FB975505B3C6}"/>
          </ac:spMkLst>
        </pc:spChg>
        <pc:spChg chg="mod ord">
          <ac:chgData name="Chhabra, Aniket" userId="598e0514-bef3-4e71-b6aa-f2edd6441cff" providerId="ADAL" clId="{3A0A5D55-ED04-41A6-8F2E-B69EB9F4FF13}" dt="2020-10-12T11:20:09.530" v="1109" actId="14100"/>
          <ac:spMkLst>
            <pc:docMk/>
            <pc:sldMk cId="508082456" sldId="256"/>
            <ac:spMk id="3" creationId="{29B126B3-19B3-4B7B-90A6-BAA1B0F1C58F}"/>
          </ac:spMkLst>
        </pc:spChg>
        <pc:spChg chg="add mod ord modVis">
          <ac:chgData name="Chhabra, Aniket" userId="598e0514-bef3-4e71-b6aa-f2edd6441cff" providerId="ADAL" clId="{3A0A5D55-ED04-41A6-8F2E-B69EB9F4FF13}" dt="2020-10-12T11:20:02.222" v="1092" actId="6549"/>
          <ac:spMkLst>
            <pc:docMk/>
            <pc:sldMk cId="508082456" sldId="256"/>
            <ac:spMk id="4" creationId="{65046B1F-D452-4B4A-B036-D1A692C1698A}"/>
          </ac:spMkLst>
        </pc:spChg>
        <pc:graphicFrameChg chg="add mod ord modVis">
          <ac:chgData name="Chhabra, Aniket" userId="598e0514-bef3-4e71-b6aa-f2edd6441cff" providerId="ADAL" clId="{3A0A5D55-ED04-41A6-8F2E-B69EB9F4FF13}" dt="2020-10-12T11:20:02.228" v="1094"/>
          <ac:graphicFrameMkLst>
            <pc:docMk/>
            <pc:sldMk cId="508082456" sldId="256"/>
            <ac:graphicFrameMk id="5" creationId="{F39B1161-04C3-42F9-8DF7-AC696C6E1300}"/>
          </ac:graphicFrameMkLst>
        </pc:graphicFrameChg>
      </pc:sldChg>
      <pc:sldChg chg="addSp delSp modSp mod">
        <pc:chgData name="Chhabra, Aniket" userId="598e0514-bef3-4e71-b6aa-f2edd6441cff" providerId="ADAL" clId="{3A0A5D55-ED04-41A6-8F2E-B69EB9F4FF13}" dt="2020-10-12T11:07:27.496" v="624" actId="1076"/>
        <pc:sldMkLst>
          <pc:docMk/>
          <pc:sldMk cId="1334667204" sldId="257"/>
        </pc:sldMkLst>
        <pc:spChg chg="mod">
          <ac:chgData name="Chhabra, Aniket" userId="598e0514-bef3-4e71-b6aa-f2edd6441cff" providerId="ADAL" clId="{3A0A5D55-ED04-41A6-8F2E-B69EB9F4FF13}" dt="2020-10-12T11:05:00.388" v="467" actId="404"/>
          <ac:spMkLst>
            <pc:docMk/>
            <pc:sldMk cId="1334667204" sldId="257"/>
            <ac:spMk id="3" creationId="{643B6540-D072-4BE4-9C5D-272364F02409}"/>
          </ac:spMkLst>
        </pc:spChg>
        <pc:spChg chg="add del">
          <ac:chgData name="Chhabra, Aniket" userId="598e0514-bef3-4e71-b6aa-f2edd6441cff" providerId="ADAL" clId="{3A0A5D55-ED04-41A6-8F2E-B69EB9F4FF13}" dt="2020-10-12T10:49:56.352" v="7"/>
          <ac:spMkLst>
            <pc:docMk/>
            <pc:sldMk cId="1334667204" sldId="257"/>
            <ac:spMk id="9" creationId="{8E65A622-EF2A-4109-A4A9-83A0A176E8C4}"/>
          </ac:spMkLst>
        </pc:spChg>
        <pc:spChg chg="add del">
          <ac:chgData name="Chhabra, Aniket" userId="598e0514-bef3-4e71-b6aa-f2edd6441cff" providerId="ADAL" clId="{3A0A5D55-ED04-41A6-8F2E-B69EB9F4FF13}" dt="2020-10-12T10:49:59.741" v="10" actId="478"/>
          <ac:spMkLst>
            <pc:docMk/>
            <pc:sldMk cId="1334667204" sldId="257"/>
            <ac:spMk id="11" creationId="{8D14A3CF-6A93-4D1F-922F-A136FEBFBF06}"/>
          </ac:spMkLst>
        </pc:spChg>
        <pc:spChg chg="add del mod">
          <ac:chgData name="Chhabra, Aniket" userId="598e0514-bef3-4e71-b6aa-f2edd6441cff" providerId="ADAL" clId="{3A0A5D55-ED04-41A6-8F2E-B69EB9F4FF13}" dt="2020-10-12T11:02:29.136" v="335" actId="478"/>
          <ac:spMkLst>
            <pc:docMk/>
            <pc:sldMk cId="1334667204" sldId="257"/>
            <ac:spMk id="12" creationId="{2675738A-3DD4-47F3-A1FC-E8F0EC513264}"/>
          </ac:spMkLst>
        </pc:spChg>
        <pc:spChg chg="add del mod">
          <ac:chgData name="Chhabra, Aniket" userId="598e0514-bef3-4e71-b6aa-f2edd6441cff" providerId="ADAL" clId="{3A0A5D55-ED04-41A6-8F2E-B69EB9F4FF13}" dt="2020-10-12T11:02:30.553" v="336" actId="478"/>
          <ac:spMkLst>
            <pc:docMk/>
            <pc:sldMk cId="1334667204" sldId="257"/>
            <ac:spMk id="13" creationId="{A27F374C-C321-44B6-972E-D794C9214919}"/>
          </ac:spMkLst>
        </pc:spChg>
        <pc:spChg chg="add del mod">
          <ac:chgData name="Chhabra, Aniket" userId="598e0514-bef3-4e71-b6aa-f2edd6441cff" providerId="ADAL" clId="{3A0A5D55-ED04-41A6-8F2E-B69EB9F4FF13}" dt="2020-10-12T11:02:31.989" v="337" actId="478"/>
          <ac:spMkLst>
            <pc:docMk/>
            <pc:sldMk cId="1334667204" sldId="257"/>
            <ac:spMk id="14" creationId="{B8DF0D66-CCCD-4964-9188-F0EEFFAC9466}"/>
          </ac:spMkLst>
        </pc:spChg>
        <pc:spChg chg="add mod">
          <ac:chgData name="Chhabra, Aniket" userId="598e0514-bef3-4e71-b6aa-f2edd6441cff" providerId="ADAL" clId="{3A0A5D55-ED04-41A6-8F2E-B69EB9F4FF13}" dt="2020-10-12T11:06:41.157" v="488" actId="14100"/>
          <ac:spMkLst>
            <pc:docMk/>
            <pc:sldMk cId="1334667204" sldId="257"/>
            <ac:spMk id="15" creationId="{3AFA8401-552E-4553-BC40-E3ADD2CAF096}"/>
          </ac:spMkLst>
        </pc:spChg>
        <pc:spChg chg="add del mod">
          <ac:chgData name="Chhabra, Aniket" userId="598e0514-bef3-4e71-b6aa-f2edd6441cff" providerId="ADAL" clId="{3A0A5D55-ED04-41A6-8F2E-B69EB9F4FF13}" dt="2020-10-12T10:58:55.350" v="291"/>
          <ac:spMkLst>
            <pc:docMk/>
            <pc:sldMk cId="1334667204" sldId="257"/>
            <ac:spMk id="20" creationId="{3E448475-4C6C-4C66-82ED-EDBD3037BC20}"/>
          </ac:spMkLst>
        </pc:spChg>
        <pc:spChg chg="add del mod">
          <ac:chgData name="Chhabra, Aniket" userId="598e0514-bef3-4e71-b6aa-f2edd6441cff" providerId="ADAL" clId="{3A0A5D55-ED04-41A6-8F2E-B69EB9F4FF13}" dt="2020-10-12T11:04:05.997" v="444" actId="21"/>
          <ac:spMkLst>
            <pc:docMk/>
            <pc:sldMk cId="1334667204" sldId="257"/>
            <ac:spMk id="21" creationId="{644B5353-1A08-4BC3-B34D-31F942165759}"/>
          </ac:spMkLst>
        </pc:spChg>
        <pc:spChg chg="add del mod">
          <ac:chgData name="Chhabra, Aniket" userId="598e0514-bef3-4e71-b6aa-f2edd6441cff" providerId="ADAL" clId="{3A0A5D55-ED04-41A6-8F2E-B69EB9F4FF13}" dt="2020-10-12T11:04:05.997" v="444" actId="21"/>
          <ac:spMkLst>
            <pc:docMk/>
            <pc:sldMk cId="1334667204" sldId="257"/>
            <ac:spMk id="22" creationId="{9BF27A9E-8C49-4EA1-BF1C-5204D1888C1F}"/>
          </ac:spMkLst>
        </pc:spChg>
        <pc:spChg chg="add del mod">
          <ac:chgData name="Chhabra, Aniket" userId="598e0514-bef3-4e71-b6aa-f2edd6441cff" providerId="ADAL" clId="{3A0A5D55-ED04-41A6-8F2E-B69EB9F4FF13}" dt="2020-10-12T11:04:05.997" v="444" actId="21"/>
          <ac:spMkLst>
            <pc:docMk/>
            <pc:sldMk cId="1334667204" sldId="257"/>
            <ac:spMk id="23" creationId="{8B68AEDC-D77B-47FB-8BE5-03058418E0FC}"/>
          </ac:spMkLst>
        </pc:spChg>
        <pc:spChg chg="add mod">
          <ac:chgData name="Chhabra, Aniket" userId="598e0514-bef3-4e71-b6aa-f2edd6441cff" providerId="ADAL" clId="{3A0A5D55-ED04-41A6-8F2E-B69EB9F4FF13}" dt="2020-10-12T11:04:44.288" v="463" actId="14100"/>
          <ac:spMkLst>
            <pc:docMk/>
            <pc:sldMk cId="1334667204" sldId="257"/>
            <ac:spMk id="26" creationId="{B94019CE-0182-4CD8-AB65-B3510238F35E}"/>
          </ac:spMkLst>
        </pc:spChg>
        <pc:spChg chg="add del mod">
          <ac:chgData name="Chhabra, Aniket" userId="598e0514-bef3-4e71-b6aa-f2edd6441cff" providerId="ADAL" clId="{3A0A5D55-ED04-41A6-8F2E-B69EB9F4FF13}" dt="2020-10-12T11:06:45.063" v="490"/>
          <ac:spMkLst>
            <pc:docMk/>
            <pc:sldMk cId="1334667204" sldId="257"/>
            <ac:spMk id="29" creationId="{10EDF118-78EA-4406-B581-8ECFF0459296}"/>
          </ac:spMkLst>
        </pc:spChg>
        <pc:spChg chg="add del mod">
          <ac:chgData name="Chhabra, Aniket" userId="598e0514-bef3-4e71-b6aa-f2edd6441cff" providerId="ADAL" clId="{3A0A5D55-ED04-41A6-8F2E-B69EB9F4FF13}" dt="2020-10-12T11:06:45.063" v="490"/>
          <ac:spMkLst>
            <pc:docMk/>
            <pc:sldMk cId="1334667204" sldId="257"/>
            <ac:spMk id="30" creationId="{17D471D9-48B1-487D-AD63-15B11E5B3620}"/>
          </ac:spMkLst>
        </pc:spChg>
        <pc:spChg chg="add del mod">
          <ac:chgData name="Chhabra, Aniket" userId="598e0514-bef3-4e71-b6aa-f2edd6441cff" providerId="ADAL" clId="{3A0A5D55-ED04-41A6-8F2E-B69EB9F4FF13}" dt="2020-10-12T11:06:45.063" v="490"/>
          <ac:spMkLst>
            <pc:docMk/>
            <pc:sldMk cId="1334667204" sldId="257"/>
            <ac:spMk id="31" creationId="{64FEDD5F-91A0-42D1-8697-2D489AFB2EEA}"/>
          </ac:spMkLst>
        </pc:spChg>
        <pc:spChg chg="add mod">
          <ac:chgData name="Chhabra, Aniket" userId="598e0514-bef3-4e71-b6aa-f2edd6441cff" providerId="ADAL" clId="{3A0A5D55-ED04-41A6-8F2E-B69EB9F4FF13}" dt="2020-10-12T11:07:27.496" v="624" actId="1076"/>
          <ac:spMkLst>
            <pc:docMk/>
            <pc:sldMk cId="1334667204" sldId="257"/>
            <ac:spMk id="32" creationId="{0C1829BB-3401-4B9D-BC5C-F04200AC8965}"/>
          </ac:spMkLst>
        </pc:spChg>
        <pc:picChg chg="add del mod">
          <ac:chgData name="Chhabra, Aniket" userId="598e0514-bef3-4e71-b6aa-f2edd6441cff" providerId="ADAL" clId="{3A0A5D55-ED04-41A6-8F2E-B69EB9F4FF13}" dt="2020-10-12T11:01:57.295" v="327" actId="478"/>
          <ac:picMkLst>
            <pc:docMk/>
            <pc:sldMk cId="1334667204" sldId="257"/>
            <ac:picMk id="16" creationId="{2C549DBB-2710-4250-8EDC-4AD6679A3EB7}"/>
          </ac:picMkLst>
        </pc:picChg>
        <pc:picChg chg="add del mod">
          <ac:chgData name="Chhabra, Aniket" userId="598e0514-bef3-4e71-b6aa-f2edd6441cff" providerId="ADAL" clId="{3A0A5D55-ED04-41A6-8F2E-B69EB9F4FF13}" dt="2020-10-12T11:01:57.295" v="327" actId="478"/>
          <ac:picMkLst>
            <pc:docMk/>
            <pc:sldMk cId="1334667204" sldId="257"/>
            <ac:picMk id="17" creationId="{45F90F3A-9A9D-4CDF-A673-B0B9B19885E0}"/>
          </ac:picMkLst>
        </pc:picChg>
        <pc:picChg chg="add del mod">
          <ac:chgData name="Chhabra, Aniket" userId="598e0514-bef3-4e71-b6aa-f2edd6441cff" providerId="ADAL" clId="{3A0A5D55-ED04-41A6-8F2E-B69EB9F4FF13}" dt="2020-10-12T11:01:57.295" v="327" actId="478"/>
          <ac:picMkLst>
            <pc:docMk/>
            <pc:sldMk cId="1334667204" sldId="257"/>
            <ac:picMk id="18" creationId="{6980DC6B-3D81-462A-805B-6636C51E6BFF}"/>
          </ac:picMkLst>
        </pc:picChg>
        <pc:picChg chg="add del">
          <ac:chgData name="Chhabra, Aniket" userId="598e0514-bef3-4e71-b6aa-f2edd6441cff" providerId="ADAL" clId="{3A0A5D55-ED04-41A6-8F2E-B69EB9F4FF13}" dt="2020-10-12T11:02:16.506" v="329" actId="478"/>
          <ac:picMkLst>
            <pc:docMk/>
            <pc:sldMk cId="1334667204" sldId="257"/>
            <ac:picMk id="24" creationId="{D274DF92-4DAD-4550-91DE-21E8E3463955}"/>
          </ac:picMkLst>
        </pc:picChg>
        <pc:picChg chg="add mod">
          <ac:chgData name="Chhabra, Aniket" userId="598e0514-bef3-4e71-b6aa-f2edd6441cff" providerId="ADAL" clId="{3A0A5D55-ED04-41A6-8F2E-B69EB9F4FF13}" dt="2020-10-12T11:04:34.665" v="458" actId="1076"/>
          <ac:picMkLst>
            <pc:docMk/>
            <pc:sldMk cId="1334667204" sldId="257"/>
            <ac:picMk id="25" creationId="{20D6E70D-6958-4D4C-A643-C1934D9793B4}"/>
          </ac:picMkLst>
        </pc:picChg>
        <pc:picChg chg="add del">
          <ac:chgData name="Chhabra, Aniket" userId="598e0514-bef3-4e71-b6aa-f2edd6441cff" providerId="ADAL" clId="{3A0A5D55-ED04-41A6-8F2E-B69EB9F4FF13}" dt="2020-10-12T11:03:24.279" v="352" actId="478"/>
          <ac:picMkLst>
            <pc:docMk/>
            <pc:sldMk cId="1334667204" sldId="257"/>
            <ac:picMk id="27" creationId="{079A5243-2910-43B2-A12F-B8525E2D0B52}"/>
          </ac:picMkLst>
        </pc:picChg>
        <pc:picChg chg="add mod">
          <ac:chgData name="Chhabra, Aniket" userId="598e0514-bef3-4e71-b6aa-f2edd6441cff" providerId="ADAL" clId="{3A0A5D55-ED04-41A6-8F2E-B69EB9F4FF13}" dt="2020-10-12T11:04:39.679" v="461" actId="1076"/>
          <ac:picMkLst>
            <pc:docMk/>
            <pc:sldMk cId="1334667204" sldId="257"/>
            <ac:picMk id="28" creationId="{725F5DDE-CACA-4DEA-9EF4-A0E1C5047132}"/>
          </ac:picMkLst>
        </pc:picChg>
      </pc:sldChg>
      <pc:sldChg chg="addSp delSp modSp new add mod">
        <pc:chgData name="Chhabra, Aniket" userId="598e0514-bef3-4e71-b6aa-f2edd6441cff" providerId="ADAL" clId="{3A0A5D55-ED04-41A6-8F2E-B69EB9F4FF13}" dt="2020-10-12T11:18:52.799" v="956" actId="20577"/>
        <pc:sldMkLst>
          <pc:docMk/>
          <pc:sldMk cId="1249035020" sldId="258"/>
        </pc:sldMkLst>
        <pc:spChg chg="mod ord">
          <ac:chgData name="Chhabra, Aniket" userId="598e0514-bef3-4e71-b6aa-f2edd6441cff" providerId="ADAL" clId="{3A0A5D55-ED04-41A6-8F2E-B69EB9F4FF13}" dt="2020-10-12T11:03:59.164" v="441" actId="5793"/>
          <ac:spMkLst>
            <pc:docMk/>
            <pc:sldMk cId="1249035020" sldId="258"/>
            <ac:spMk id="2" creationId="{CB688BC3-F6E4-4886-95E7-D676BAA63877}"/>
          </ac:spMkLst>
        </pc:spChg>
        <pc:spChg chg="del">
          <ac:chgData name="Chhabra, Aniket" userId="598e0514-bef3-4e71-b6aa-f2edd6441cff" providerId="ADAL" clId="{3A0A5D55-ED04-41A6-8F2E-B69EB9F4FF13}" dt="2020-10-12T11:03:43.737" v="359" actId="478"/>
          <ac:spMkLst>
            <pc:docMk/>
            <pc:sldMk cId="1249035020" sldId="258"/>
            <ac:spMk id="3" creationId="{7CF3706E-696C-4129-BEE4-ECB63AAA7194}"/>
          </ac:spMkLst>
        </pc:spChg>
        <pc:spChg chg="add mod ord modVis">
          <ac:chgData name="Chhabra, Aniket" userId="598e0514-bef3-4e71-b6aa-f2edd6441cff" providerId="ADAL" clId="{3A0A5D55-ED04-41A6-8F2E-B69EB9F4FF13}" dt="2020-10-12T11:03:57.046" v="423"/>
          <ac:spMkLst>
            <pc:docMk/>
            <pc:sldMk cId="1249035020" sldId="258"/>
            <ac:spMk id="5" creationId="{B2FBEA0B-AFC9-4E9F-B596-EF6F6E94CC4B}"/>
          </ac:spMkLst>
        </pc:spChg>
        <pc:spChg chg="add mod">
          <ac:chgData name="Chhabra, Aniket" userId="598e0514-bef3-4e71-b6aa-f2edd6441cff" providerId="ADAL" clId="{3A0A5D55-ED04-41A6-8F2E-B69EB9F4FF13}" dt="2020-10-12T11:09:21.893" v="679" actId="27636"/>
          <ac:spMkLst>
            <pc:docMk/>
            <pc:sldMk cId="1249035020" sldId="258"/>
            <ac:spMk id="6" creationId="{ACC410E5-66E4-4852-9011-364211860C8A}"/>
          </ac:spMkLst>
        </pc:spChg>
        <pc:spChg chg="add mod">
          <ac:chgData name="Chhabra, Aniket" userId="598e0514-bef3-4e71-b6aa-f2edd6441cff" providerId="ADAL" clId="{3A0A5D55-ED04-41A6-8F2E-B69EB9F4FF13}" dt="2020-10-12T11:08:31.218" v="645" actId="1076"/>
          <ac:spMkLst>
            <pc:docMk/>
            <pc:sldMk cId="1249035020" sldId="258"/>
            <ac:spMk id="7" creationId="{4944ABAC-DABC-4491-B44C-975ADD7C5F84}"/>
          </ac:spMkLst>
        </pc:spChg>
        <pc:spChg chg="add mod">
          <ac:chgData name="Chhabra, Aniket" userId="598e0514-bef3-4e71-b6aa-f2edd6441cff" providerId="ADAL" clId="{3A0A5D55-ED04-41A6-8F2E-B69EB9F4FF13}" dt="2020-10-12T11:06:15.888" v="469" actId="14100"/>
          <ac:spMkLst>
            <pc:docMk/>
            <pc:sldMk cId="1249035020" sldId="258"/>
            <ac:spMk id="8" creationId="{87C96B01-14CB-480C-9D27-34781D90A126}"/>
          </ac:spMkLst>
        </pc:spChg>
        <pc:spChg chg="add del mod">
          <ac:chgData name="Chhabra, Aniket" userId="598e0514-bef3-4e71-b6aa-f2edd6441cff" providerId="ADAL" clId="{3A0A5D55-ED04-41A6-8F2E-B69EB9F4FF13}" dt="2020-10-12T11:10:45.865" v="714"/>
          <ac:spMkLst>
            <pc:docMk/>
            <pc:sldMk cId="1249035020" sldId="258"/>
            <ac:spMk id="11" creationId="{85C3E2F0-4F76-41F6-B4EE-993734CC06D8}"/>
          </ac:spMkLst>
        </pc:spChg>
        <pc:spChg chg="add mod">
          <ac:chgData name="Chhabra, Aniket" userId="598e0514-bef3-4e71-b6aa-f2edd6441cff" providerId="ADAL" clId="{3A0A5D55-ED04-41A6-8F2E-B69EB9F4FF13}" dt="2020-10-12T11:12:34.446" v="762" actId="1037"/>
          <ac:spMkLst>
            <pc:docMk/>
            <pc:sldMk cId="1249035020" sldId="258"/>
            <ac:spMk id="12" creationId="{C30530E1-F535-42E0-ABAB-075F5D29EBF9}"/>
          </ac:spMkLst>
        </pc:spChg>
        <pc:spChg chg="add mod">
          <ac:chgData name="Chhabra, Aniket" userId="598e0514-bef3-4e71-b6aa-f2edd6441cff" providerId="ADAL" clId="{3A0A5D55-ED04-41A6-8F2E-B69EB9F4FF13}" dt="2020-10-12T11:12:34.446" v="762" actId="1037"/>
          <ac:spMkLst>
            <pc:docMk/>
            <pc:sldMk cId="1249035020" sldId="258"/>
            <ac:spMk id="13" creationId="{F7D1547F-05F0-437A-B1E4-5BAD85D37374}"/>
          </ac:spMkLst>
        </pc:spChg>
        <pc:spChg chg="add mod">
          <ac:chgData name="Chhabra, Aniket" userId="598e0514-bef3-4e71-b6aa-f2edd6441cff" providerId="ADAL" clId="{3A0A5D55-ED04-41A6-8F2E-B69EB9F4FF13}" dt="2020-10-12T11:13:54.510" v="800" actId="1038"/>
          <ac:spMkLst>
            <pc:docMk/>
            <pc:sldMk cId="1249035020" sldId="258"/>
            <ac:spMk id="17" creationId="{2C8D4592-9E10-4975-A4F4-4FF2873791C2}"/>
          </ac:spMkLst>
        </pc:spChg>
        <pc:spChg chg="add mod">
          <ac:chgData name="Chhabra, Aniket" userId="598e0514-bef3-4e71-b6aa-f2edd6441cff" providerId="ADAL" clId="{3A0A5D55-ED04-41A6-8F2E-B69EB9F4FF13}" dt="2020-10-12T11:13:57.835" v="804" actId="1035"/>
          <ac:spMkLst>
            <pc:docMk/>
            <pc:sldMk cId="1249035020" sldId="258"/>
            <ac:spMk id="18" creationId="{83913A01-5C70-43EB-8543-46A19B5BD4B5}"/>
          </ac:spMkLst>
        </pc:spChg>
        <pc:spChg chg="add mod">
          <ac:chgData name="Chhabra, Aniket" userId="598e0514-bef3-4e71-b6aa-f2edd6441cff" providerId="ADAL" clId="{3A0A5D55-ED04-41A6-8F2E-B69EB9F4FF13}" dt="2020-10-12T11:16:03.932" v="817" actId="1076"/>
          <ac:spMkLst>
            <pc:docMk/>
            <pc:sldMk cId="1249035020" sldId="258"/>
            <ac:spMk id="22" creationId="{DC425AC9-7038-4873-A4E8-B5D7F2F60EE2}"/>
          </ac:spMkLst>
        </pc:spChg>
        <pc:spChg chg="add del mod">
          <ac:chgData name="Chhabra, Aniket" userId="598e0514-bef3-4e71-b6aa-f2edd6441cff" providerId="ADAL" clId="{3A0A5D55-ED04-41A6-8F2E-B69EB9F4FF13}" dt="2020-10-12T11:17:40.693" v="826" actId="478"/>
          <ac:spMkLst>
            <pc:docMk/>
            <pc:sldMk cId="1249035020" sldId="258"/>
            <ac:spMk id="25" creationId="{8DD0A1B4-79BB-4B3C-9AE1-9AAA48B3D2AD}"/>
          </ac:spMkLst>
        </pc:spChg>
        <pc:spChg chg="add mod">
          <ac:chgData name="Chhabra, Aniket" userId="598e0514-bef3-4e71-b6aa-f2edd6441cff" providerId="ADAL" clId="{3A0A5D55-ED04-41A6-8F2E-B69EB9F4FF13}" dt="2020-10-12T11:18:52.799" v="956" actId="20577"/>
          <ac:spMkLst>
            <pc:docMk/>
            <pc:sldMk cId="1249035020" sldId="258"/>
            <ac:spMk id="26" creationId="{011CBA03-779F-43F9-9FAB-8EA6E7344078}"/>
          </ac:spMkLst>
        </pc:spChg>
        <pc:graphicFrameChg chg="add mod ord modVis">
          <ac:chgData name="Chhabra, Aniket" userId="598e0514-bef3-4e71-b6aa-f2edd6441cff" providerId="ADAL" clId="{3A0A5D55-ED04-41A6-8F2E-B69EB9F4FF13}" dt="2020-10-12T11:03:59.678" v="443"/>
          <ac:graphicFrameMkLst>
            <pc:docMk/>
            <pc:sldMk cId="1249035020" sldId="258"/>
            <ac:graphicFrameMk id="4" creationId="{6E4D4F72-5C85-4ACA-B525-4B8E47646C22}"/>
          </ac:graphicFrameMkLst>
        </pc:graphicFrameChg>
        <pc:picChg chg="add mod">
          <ac:chgData name="Chhabra, Aniket" userId="598e0514-bef3-4e71-b6aa-f2edd6441cff" providerId="ADAL" clId="{3A0A5D55-ED04-41A6-8F2E-B69EB9F4FF13}" dt="2020-10-12T11:12:49.215" v="770" actId="1076"/>
          <ac:picMkLst>
            <pc:docMk/>
            <pc:sldMk cId="1249035020" sldId="258"/>
            <ac:picMk id="9" creationId="{5B4600A3-E783-4228-B9DB-28C3AD0A259D}"/>
          </ac:picMkLst>
        </pc:picChg>
        <pc:picChg chg="add del">
          <ac:chgData name="Chhabra, Aniket" userId="598e0514-bef3-4e71-b6aa-f2edd6441cff" providerId="ADAL" clId="{3A0A5D55-ED04-41A6-8F2E-B69EB9F4FF13}" dt="2020-10-12T11:11:14.613" v="716" actId="478"/>
          <ac:picMkLst>
            <pc:docMk/>
            <pc:sldMk cId="1249035020" sldId="258"/>
            <ac:picMk id="14" creationId="{7DB2B688-316C-4302-96FF-3202DBCD13DC}"/>
          </ac:picMkLst>
        </pc:picChg>
        <pc:picChg chg="add mod">
          <ac:chgData name="Chhabra, Aniket" userId="598e0514-bef3-4e71-b6aa-f2edd6441cff" providerId="ADAL" clId="{3A0A5D55-ED04-41A6-8F2E-B69EB9F4FF13}" dt="2020-10-12T11:12:36.829" v="763" actId="1076"/>
          <ac:picMkLst>
            <pc:docMk/>
            <pc:sldMk cId="1249035020" sldId="258"/>
            <ac:picMk id="15" creationId="{5E9689CE-DE71-4632-8EC1-A4C07BBDA1CB}"/>
          </ac:picMkLst>
        </pc:picChg>
        <pc:picChg chg="add del mod">
          <ac:chgData name="Chhabra, Aniket" userId="598e0514-bef3-4e71-b6aa-f2edd6441cff" providerId="ADAL" clId="{3A0A5D55-ED04-41A6-8F2E-B69EB9F4FF13}" dt="2020-10-12T11:13:37.307" v="779" actId="478"/>
          <ac:picMkLst>
            <pc:docMk/>
            <pc:sldMk cId="1249035020" sldId="258"/>
            <ac:picMk id="16" creationId="{7E99E464-92DA-456C-89D0-68CB3493F3B3}"/>
          </ac:picMkLst>
        </pc:picChg>
        <pc:picChg chg="add mod">
          <ac:chgData name="Chhabra, Aniket" userId="598e0514-bef3-4e71-b6aa-f2edd6441cff" providerId="ADAL" clId="{3A0A5D55-ED04-41A6-8F2E-B69EB9F4FF13}" dt="2020-10-12T11:13:51.793" v="797" actId="1037"/>
          <ac:picMkLst>
            <pc:docMk/>
            <pc:sldMk cId="1249035020" sldId="258"/>
            <ac:picMk id="19" creationId="{EFC150FC-A4DC-408D-9485-13A1FE5D373C}"/>
          </ac:picMkLst>
        </pc:picChg>
        <pc:picChg chg="add del">
          <ac:chgData name="Chhabra, Aniket" userId="598e0514-bef3-4e71-b6aa-f2edd6441cff" providerId="ADAL" clId="{3A0A5D55-ED04-41A6-8F2E-B69EB9F4FF13}" dt="2020-10-12T11:15:39.627" v="806" actId="478"/>
          <ac:picMkLst>
            <pc:docMk/>
            <pc:sldMk cId="1249035020" sldId="258"/>
            <ac:picMk id="20" creationId="{C681C02F-5B68-4255-8247-C35CEC1D8839}"/>
          </ac:picMkLst>
        </pc:picChg>
        <pc:picChg chg="add mod">
          <ac:chgData name="Chhabra, Aniket" userId="598e0514-bef3-4e71-b6aa-f2edd6441cff" providerId="ADAL" clId="{3A0A5D55-ED04-41A6-8F2E-B69EB9F4FF13}" dt="2020-10-12T11:15:51.383" v="814" actId="1035"/>
          <ac:picMkLst>
            <pc:docMk/>
            <pc:sldMk cId="1249035020" sldId="258"/>
            <ac:picMk id="21" creationId="{0BB3082A-B353-4A6B-B90C-8B3FFCF10B0F}"/>
          </ac:picMkLst>
        </pc:picChg>
        <pc:picChg chg="add del mod">
          <ac:chgData name="Chhabra, Aniket" userId="598e0514-bef3-4e71-b6aa-f2edd6441cff" providerId="ADAL" clId="{3A0A5D55-ED04-41A6-8F2E-B69EB9F4FF13}" dt="2020-10-12T11:16:30.402" v="823" actId="478"/>
          <ac:picMkLst>
            <pc:docMk/>
            <pc:sldMk cId="1249035020" sldId="258"/>
            <ac:picMk id="23" creationId="{919F4694-2323-4A71-84E2-AE7BC815E412}"/>
          </ac:picMkLst>
        </pc:picChg>
        <pc:picChg chg="add del mod">
          <ac:chgData name="Chhabra, Aniket" userId="598e0514-bef3-4e71-b6aa-f2edd6441cff" providerId="ADAL" clId="{3A0A5D55-ED04-41A6-8F2E-B69EB9F4FF13}" dt="2020-10-12T11:16:29.443" v="822"/>
          <ac:picMkLst>
            <pc:docMk/>
            <pc:sldMk cId="1249035020" sldId="258"/>
            <ac:picMk id="24" creationId="{0C5BBD02-5155-401E-9063-903C1EAAEF91}"/>
          </ac:picMkLst>
        </pc:picChg>
      </pc:sldChg>
      <pc:sldChg chg="new add del">
        <pc:chgData name="Chhabra, Aniket" userId="598e0514-bef3-4e71-b6aa-f2edd6441cff" providerId="ADAL" clId="{3A0A5D55-ED04-41A6-8F2E-B69EB9F4FF13}" dt="2020-10-12T11:19:11.594" v="984" actId="47"/>
        <pc:sldMkLst>
          <pc:docMk/>
          <pc:sldMk cId="337757555" sldId="259"/>
        </pc:sldMkLst>
      </pc:sldChg>
      <pc:sldChg chg="add">
        <pc:chgData name="Chhabra, Aniket" userId="598e0514-bef3-4e71-b6aa-f2edd6441cff" providerId="ADAL" clId="{3A0A5D55-ED04-41A6-8F2E-B69EB9F4FF13}" dt="2020-10-16T21:19:23.326" v="7890"/>
        <pc:sldMkLst>
          <pc:docMk/>
          <pc:sldMk cId="1261391772" sldId="477"/>
        </pc:sldMkLst>
      </pc:sldChg>
      <pc:sldChg chg="modSp add del mod">
        <pc:chgData name="Chhabra, Aniket" userId="598e0514-bef3-4e71-b6aa-f2edd6441cff" providerId="ADAL" clId="{3A0A5D55-ED04-41A6-8F2E-B69EB9F4FF13}" dt="2020-10-16T21:09:49.322" v="7887"/>
        <pc:sldMkLst>
          <pc:docMk/>
          <pc:sldMk cId="844817729" sldId="485"/>
        </pc:sldMkLst>
        <pc:spChg chg="mod">
          <ac:chgData name="Chhabra, Aniket" userId="598e0514-bef3-4e71-b6aa-f2edd6441cff" providerId="ADAL" clId="{3A0A5D55-ED04-41A6-8F2E-B69EB9F4FF13}" dt="2020-10-16T21:09:49.322" v="7887"/>
          <ac:spMkLst>
            <pc:docMk/>
            <pc:sldMk cId="844817729" sldId="485"/>
            <ac:spMk id="5" creationId="{BF4FCFE0-CAE9-499F-A5EA-6E115F0882A0}"/>
          </ac:spMkLst>
        </pc:spChg>
        <pc:spChg chg="mod">
          <ac:chgData name="Chhabra, Aniket" userId="598e0514-bef3-4e71-b6aa-f2edd6441cff" providerId="ADAL" clId="{3A0A5D55-ED04-41A6-8F2E-B69EB9F4FF13}" dt="2020-10-16T21:09:49.322" v="7887"/>
          <ac:spMkLst>
            <pc:docMk/>
            <pc:sldMk cId="844817729" sldId="485"/>
            <ac:spMk id="6" creationId="{00000000-0000-0000-0000-000000000000}"/>
          </ac:spMkLst>
        </pc:spChg>
        <pc:graphicFrameChg chg="mod">
          <ac:chgData name="Chhabra, Aniket" userId="598e0514-bef3-4e71-b6aa-f2edd6441cff" providerId="ADAL" clId="{3A0A5D55-ED04-41A6-8F2E-B69EB9F4FF13}" dt="2020-10-16T21:09:49.322" v="7887"/>
          <ac:graphicFrameMkLst>
            <pc:docMk/>
            <pc:sldMk cId="844817729" sldId="485"/>
            <ac:graphicFrameMk id="8" creationId="{3AC27B92-CF91-49EA-8D28-F8DE24CCD041}"/>
          </ac:graphicFrameMkLst>
        </pc:graphicFrameChg>
      </pc:sldChg>
      <pc:sldChg chg="modSp add del mod">
        <pc:chgData name="Chhabra, Aniket" userId="598e0514-bef3-4e71-b6aa-f2edd6441cff" providerId="ADAL" clId="{3A0A5D55-ED04-41A6-8F2E-B69EB9F4FF13}" dt="2020-10-17T09:36:55.924" v="7895" actId="13926"/>
        <pc:sldMkLst>
          <pc:docMk/>
          <pc:sldMk cId="427607696" sldId="486"/>
        </pc:sldMkLst>
        <pc:spChg chg="mod">
          <ac:chgData name="Chhabra, Aniket" userId="598e0514-bef3-4e71-b6aa-f2edd6441cff" providerId="ADAL" clId="{3A0A5D55-ED04-41A6-8F2E-B69EB9F4FF13}" dt="2020-10-16T21:09:49.322" v="7887"/>
          <ac:spMkLst>
            <pc:docMk/>
            <pc:sldMk cId="427607696" sldId="486"/>
            <ac:spMk id="6" creationId="{00000000-0000-0000-0000-000000000000}"/>
          </ac:spMkLst>
        </pc:spChg>
        <pc:spChg chg="mod">
          <ac:chgData name="Chhabra, Aniket" userId="598e0514-bef3-4e71-b6aa-f2edd6441cff" providerId="ADAL" clId="{3A0A5D55-ED04-41A6-8F2E-B69EB9F4FF13}" dt="2020-10-17T09:36:55.924" v="7895" actId="13926"/>
          <ac:spMkLst>
            <pc:docMk/>
            <pc:sldMk cId="427607696" sldId="486"/>
            <ac:spMk id="17" creationId="{D149206B-3124-45F4-8B57-3F4C6CE8F753}"/>
          </ac:spMkLst>
        </pc:spChg>
      </pc:sldChg>
      <pc:sldChg chg="modSp add del mod">
        <pc:chgData name="Chhabra, Aniket" userId="598e0514-bef3-4e71-b6aa-f2edd6441cff" providerId="ADAL" clId="{3A0A5D55-ED04-41A6-8F2E-B69EB9F4FF13}" dt="2020-10-16T21:09:49.322" v="7887"/>
        <pc:sldMkLst>
          <pc:docMk/>
          <pc:sldMk cId="424230947" sldId="487"/>
        </pc:sldMkLst>
        <pc:spChg chg="mod">
          <ac:chgData name="Chhabra, Aniket" userId="598e0514-bef3-4e71-b6aa-f2edd6441cff" providerId="ADAL" clId="{3A0A5D55-ED04-41A6-8F2E-B69EB9F4FF13}" dt="2020-10-16T21:09:49.322" v="7887"/>
          <ac:spMkLst>
            <pc:docMk/>
            <pc:sldMk cId="424230947" sldId="487"/>
            <ac:spMk id="6" creationId="{00000000-0000-0000-0000-000000000000}"/>
          </ac:spMkLst>
        </pc:spChg>
      </pc:sldChg>
      <pc:sldChg chg="del">
        <pc:chgData name="Chhabra, Aniket" userId="598e0514-bef3-4e71-b6aa-f2edd6441cff" providerId="ADAL" clId="{3A0A5D55-ED04-41A6-8F2E-B69EB9F4FF13}" dt="2020-10-17T19:38:58.601" v="8463" actId="47"/>
        <pc:sldMkLst>
          <pc:docMk/>
          <pc:sldMk cId="1904498985" sldId="489"/>
        </pc:sldMkLst>
      </pc:sldChg>
      <pc:sldChg chg="add">
        <pc:chgData name="Chhabra, Aniket" userId="598e0514-bef3-4e71-b6aa-f2edd6441cff" providerId="ADAL" clId="{3A0A5D55-ED04-41A6-8F2E-B69EB9F4FF13}" dt="2020-10-16T21:15:01.297" v="7888"/>
        <pc:sldMkLst>
          <pc:docMk/>
          <pc:sldMk cId="146654882" sldId="493"/>
        </pc:sldMkLst>
      </pc:sldChg>
      <pc:sldChg chg="add">
        <pc:chgData name="Chhabra, Aniket" userId="598e0514-bef3-4e71-b6aa-f2edd6441cff" providerId="ADAL" clId="{3A0A5D55-ED04-41A6-8F2E-B69EB9F4FF13}" dt="2020-10-16T21:15:01.297" v="7888"/>
        <pc:sldMkLst>
          <pc:docMk/>
          <pc:sldMk cId="3133866288" sldId="494"/>
        </pc:sldMkLst>
      </pc:sldChg>
      <pc:sldChg chg="add">
        <pc:chgData name="Chhabra, Aniket" userId="598e0514-bef3-4e71-b6aa-f2edd6441cff" providerId="ADAL" clId="{3A0A5D55-ED04-41A6-8F2E-B69EB9F4FF13}" dt="2020-10-16T21:15:46.309" v="7889"/>
        <pc:sldMkLst>
          <pc:docMk/>
          <pc:sldMk cId="286287367" sldId="496"/>
        </pc:sldMkLst>
      </pc:sldChg>
      <pc:sldChg chg="add">
        <pc:chgData name="Chhabra, Aniket" userId="598e0514-bef3-4e71-b6aa-f2edd6441cff" providerId="ADAL" clId="{3A0A5D55-ED04-41A6-8F2E-B69EB9F4FF13}" dt="2020-10-16T21:15:46.309" v="7889"/>
        <pc:sldMkLst>
          <pc:docMk/>
          <pc:sldMk cId="3750059198" sldId="497"/>
        </pc:sldMkLst>
      </pc:sldChg>
      <pc:sldChg chg="add">
        <pc:chgData name="Chhabra, Aniket" userId="598e0514-bef3-4e71-b6aa-f2edd6441cff" providerId="ADAL" clId="{3A0A5D55-ED04-41A6-8F2E-B69EB9F4FF13}" dt="2020-10-16T21:15:46.309" v="7889"/>
        <pc:sldMkLst>
          <pc:docMk/>
          <pc:sldMk cId="426437426" sldId="498"/>
        </pc:sldMkLst>
      </pc:sldChg>
      <pc:sldChg chg="delSp modSp mod">
        <pc:chgData name="Chhabra, Aniket" userId="598e0514-bef3-4e71-b6aa-f2edd6441cff" providerId="ADAL" clId="{3A0A5D55-ED04-41A6-8F2E-B69EB9F4FF13}" dt="2020-10-17T19:45:47.426" v="8476" actId="14100"/>
        <pc:sldMkLst>
          <pc:docMk/>
          <pc:sldMk cId="3267276061" sldId="501"/>
        </pc:sldMkLst>
        <pc:picChg chg="del">
          <ac:chgData name="Chhabra, Aniket" userId="598e0514-bef3-4e71-b6aa-f2edd6441cff" providerId="ADAL" clId="{3A0A5D55-ED04-41A6-8F2E-B69EB9F4FF13}" dt="2020-10-17T19:45:22.806" v="8464" actId="478"/>
          <ac:picMkLst>
            <pc:docMk/>
            <pc:sldMk cId="3267276061" sldId="501"/>
            <ac:picMk id="7" creationId="{764FDF9E-84F1-4B69-93A8-84C476EF8FF3}"/>
          </ac:picMkLst>
        </pc:picChg>
        <pc:picChg chg="mod">
          <ac:chgData name="Chhabra, Aniket" userId="598e0514-bef3-4e71-b6aa-f2edd6441cff" providerId="ADAL" clId="{3A0A5D55-ED04-41A6-8F2E-B69EB9F4FF13}" dt="2020-10-17T19:45:31.833" v="8469" actId="14100"/>
          <ac:picMkLst>
            <pc:docMk/>
            <pc:sldMk cId="3267276061" sldId="501"/>
            <ac:picMk id="9" creationId="{7E44E08A-B6C8-463A-B852-59A21340A941}"/>
          </ac:picMkLst>
        </pc:picChg>
        <pc:picChg chg="mod">
          <ac:chgData name="Chhabra, Aniket" userId="598e0514-bef3-4e71-b6aa-f2edd6441cff" providerId="ADAL" clId="{3A0A5D55-ED04-41A6-8F2E-B69EB9F4FF13}" dt="2020-10-17T19:45:34.966" v="8471" actId="1076"/>
          <ac:picMkLst>
            <pc:docMk/>
            <pc:sldMk cId="3267276061" sldId="501"/>
            <ac:picMk id="10" creationId="{B1C60071-5969-437A-A1D4-39C250713565}"/>
          </ac:picMkLst>
        </pc:picChg>
        <pc:picChg chg="mod">
          <ac:chgData name="Chhabra, Aniket" userId="598e0514-bef3-4e71-b6aa-f2edd6441cff" providerId="ADAL" clId="{3A0A5D55-ED04-41A6-8F2E-B69EB9F4FF13}" dt="2020-10-17T19:45:47.426" v="8476" actId="14100"/>
          <ac:picMkLst>
            <pc:docMk/>
            <pc:sldMk cId="3267276061" sldId="501"/>
            <ac:picMk id="13" creationId="{9D1EAB8A-77B0-456C-8628-8385F275B6F8}"/>
          </ac:picMkLst>
        </pc:picChg>
      </pc:sldChg>
      <pc:sldChg chg="addSp modSp add mod">
        <pc:chgData name="Chhabra, Aniket" userId="598e0514-bef3-4e71-b6aa-f2edd6441cff" providerId="ADAL" clId="{3A0A5D55-ED04-41A6-8F2E-B69EB9F4FF13}" dt="2020-10-12T11:29:21.771" v="1497"/>
        <pc:sldMkLst>
          <pc:docMk/>
          <pc:sldMk cId="112902532" sldId="531"/>
        </pc:sldMkLst>
        <pc:spChg chg="mod">
          <ac:chgData name="Chhabra, Aniket" userId="598e0514-bef3-4e71-b6aa-f2edd6441cff" providerId="ADAL" clId="{3A0A5D55-ED04-41A6-8F2E-B69EB9F4FF13}" dt="2020-10-12T11:19:24.817" v="996" actId="6549"/>
          <ac:spMkLst>
            <pc:docMk/>
            <pc:sldMk cId="112902532" sldId="531"/>
            <ac:spMk id="5" creationId="{BF4FCFE0-CAE9-499F-A5EA-6E115F0882A0}"/>
          </ac:spMkLst>
        </pc:spChg>
        <pc:spChg chg="mod">
          <ac:chgData name="Chhabra, Aniket" userId="598e0514-bef3-4e71-b6aa-f2edd6441cff" providerId="ADAL" clId="{3A0A5D55-ED04-41A6-8F2E-B69EB9F4FF13}" dt="2020-10-12T11:29:21.263" v="1495" actId="6549"/>
          <ac:spMkLst>
            <pc:docMk/>
            <pc:sldMk cId="112902532" sldId="531"/>
            <ac:spMk id="6" creationId="{00000000-0000-0000-0000-000000000000}"/>
          </ac:spMkLst>
        </pc:spChg>
        <pc:spChg chg="add mod">
          <ac:chgData name="Chhabra, Aniket" userId="598e0514-bef3-4e71-b6aa-f2edd6441cff" providerId="ADAL" clId="{3A0A5D55-ED04-41A6-8F2E-B69EB9F4FF13}" dt="2020-10-12T11:26:29.567" v="1494" actId="948"/>
          <ac:spMkLst>
            <pc:docMk/>
            <pc:sldMk cId="112902532" sldId="531"/>
            <ac:spMk id="9" creationId="{0C609C5A-69B5-4BA9-8B39-74F5032DC1E6}"/>
          </ac:spMkLst>
        </pc:spChg>
        <pc:graphicFrameChg chg="mod">
          <ac:chgData name="Chhabra, Aniket" userId="598e0514-bef3-4e71-b6aa-f2edd6441cff" providerId="ADAL" clId="{3A0A5D55-ED04-41A6-8F2E-B69EB9F4FF13}" dt="2020-10-12T11:29:21.771" v="1497"/>
          <ac:graphicFrameMkLst>
            <pc:docMk/>
            <pc:sldMk cId="112902532" sldId="531"/>
            <ac:graphicFrameMk id="8" creationId="{3AC27B92-CF91-49EA-8D28-F8DE24CCD041}"/>
          </ac:graphicFrameMkLst>
        </pc:graphicFrameChg>
        <pc:picChg chg="mod">
          <ac:chgData name="Chhabra, Aniket" userId="598e0514-bef3-4e71-b6aa-f2edd6441cff" providerId="ADAL" clId="{3A0A5D55-ED04-41A6-8F2E-B69EB9F4FF13}" dt="2020-10-12T11:20:57.823" v="1119" actId="1035"/>
          <ac:picMkLst>
            <pc:docMk/>
            <pc:sldMk cId="112902532" sldId="531"/>
            <ac:picMk id="2" creationId="{52F78C87-2A63-49B0-9A1E-6CD3F7EF9181}"/>
          </ac:picMkLst>
        </pc:picChg>
        <pc:picChg chg="mod">
          <ac:chgData name="Chhabra, Aniket" userId="598e0514-bef3-4e71-b6aa-f2edd6441cff" providerId="ADAL" clId="{3A0A5D55-ED04-41A6-8F2E-B69EB9F4FF13}" dt="2020-10-12T11:20:57.823" v="1119" actId="1035"/>
          <ac:picMkLst>
            <pc:docMk/>
            <pc:sldMk cId="112902532" sldId="531"/>
            <ac:picMk id="7" creationId="{4B66001C-C854-4A73-9D50-281208F94018}"/>
          </ac:picMkLst>
        </pc:picChg>
      </pc:sldChg>
      <pc:sldChg chg="addSp delSp modSp add mod">
        <pc:chgData name="Chhabra, Aniket" userId="598e0514-bef3-4e71-b6aa-f2edd6441cff" providerId="ADAL" clId="{3A0A5D55-ED04-41A6-8F2E-B69EB9F4FF13}" dt="2020-10-14T18:54:18.893" v="4880" actId="20577"/>
        <pc:sldMkLst>
          <pc:docMk/>
          <pc:sldMk cId="3663992576" sldId="532"/>
        </pc:sldMkLst>
        <pc:spChg chg="mod">
          <ac:chgData name="Chhabra, Aniket" userId="598e0514-bef3-4e71-b6aa-f2edd6441cff" providerId="ADAL" clId="{3A0A5D55-ED04-41A6-8F2E-B69EB9F4FF13}" dt="2020-10-12T11:36:02.302" v="1559" actId="20577"/>
          <ac:spMkLst>
            <pc:docMk/>
            <pc:sldMk cId="3663992576" sldId="532"/>
            <ac:spMk id="2" creationId="{82440C3A-A635-4CB2-AABA-F385CCC65AB1}"/>
          </ac:spMkLst>
        </pc:spChg>
        <pc:spChg chg="mod">
          <ac:chgData name="Chhabra, Aniket" userId="598e0514-bef3-4e71-b6aa-f2edd6441cff" providerId="ADAL" clId="{3A0A5D55-ED04-41A6-8F2E-B69EB9F4FF13}" dt="2020-10-12T11:36:33.829" v="1607" actId="14100"/>
          <ac:spMkLst>
            <pc:docMk/>
            <pc:sldMk cId="3663992576" sldId="532"/>
            <ac:spMk id="3" creationId="{643B6540-D072-4BE4-9C5D-272364F02409}"/>
          </ac:spMkLst>
        </pc:spChg>
        <pc:spChg chg="mod">
          <ac:chgData name="Chhabra, Aniket" userId="598e0514-bef3-4e71-b6aa-f2edd6441cff" providerId="ADAL" clId="{3A0A5D55-ED04-41A6-8F2E-B69EB9F4FF13}" dt="2020-10-12T11:31:49.276" v="1522" actId="6549"/>
          <ac:spMkLst>
            <pc:docMk/>
            <pc:sldMk cId="3663992576" sldId="532"/>
            <ac:spMk id="6" creationId="{6FCBB248-4DFD-41B3-BAA2-BBC7C388911A}"/>
          </ac:spMkLst>
        </pc:spChg>
        <pc:spChg chg="add mod">
          <ac:chgData name="Chhabra, Aniket" userId="598e0514-bef3-4e71-b6aa-f2edd6441cff" providerId="ADAL" clId="{3A0A5D55-ED04-41A6-8F2E-B69EB9F4FF13}" dt="2020-10-12T11:38:47.345" v="1723" actId="1035"/>
          <ac:spMkLst>
            <pc:docMk/>
            <pc:sldMk cId="3663992576" sldId="532"/>
            <ac:spMk id="8" creationId="{5D2A3615-3234-40DB-93DC-A550CE87CB74}"/>
          </ac:spMkLst>
        </pc:spChg>
        <pc:spChg chg="add del mod">
          <ac:chgData name="Chhabra, Aniket" userId="598e0514-bef3-4e71-b6aa-f2edd6441cff" providerId="ADAL" clId="{3A0A5D55-ED04-41A6-8F2E-B69EB9F4FF13}" dt="2020-10-12T11:37:36.185" v="1628" actId="478"/>
          <ac:spMkLst>
            <pc:docMk/>
            <pc:sldMk cId="3663992576" sldId="532"/>
            <ac:spMk id="9" creationId="{46348A02-3D84-4A93-A6FF-8CB9F0F7AD8C}"/>
          </ac:spMkLst>
        </pc:spChg>
        <pc:spChg chg="add mod">
          <ac:chgData name="Chhabra, Aniket" userId="598e0514-bef3-4e71-b6aa-f2edd6441cff" providerId="ADAL" clId="{3A0A5D55-ED04-41A6-8F2E-B69EB9F4FF13}" dt="2020-10-13T02:01:16.108" v="2746" actId="14100"/>
          <ac:spMkLst>
            <pc:docMk/>
            <pc:sldMk cId="3663992576" sldId="532"/>
            <ac:spMk id="12" creationId="{900BEF90-BD44-49BA-B4F9-F63AF9F01F73}"/>
          </ac:spMkLst>
        </pc:spChg>
        <pc:spChg chg="mod">
          <ac:chgData name="Chhabra, Aniket" userId="598e0514-bef3-4e71-b6aa-f2edd6441cff" providerId="ADAL" clId="{3A0A5D55-ED04-41A6-8F2E-B69EB9F4FF13}" dt="2020-10-13T01:50:01.671" v="2182" actId="20577"/>
          <ac:spMkLst>
            <pc:docMk/>
            <pc:sldMk cId="3663992576" sldId="532"/>
            <ac:spMk id="15" creationId="{3AFA8401-552E-4553-BC40-E3ADD2CAF096}"/>
          </ac:spMkLst>
        </pc:spChg>
        <pc:spChg chg="add mod">
          <ac:chgData name="Chhabra, Aniket" userId="598e0514-bef3-4e71-b6aa-f2edd6441cff" providerId="ADAL" clId="{3A0A5D55-ED04-41A6-8F2E-B69EB9F4FF13}" dt="2020-10-12T11:38:47.345" v="1723" actId="1035"/>
          <ac:spMkLst>
            <pc:docMk/>
            <pc:sldMk cId="3663992576" sldId="532"/>
            <ac:spMk id="16" creationId="{DFA05AB4-A6E7-478E-8094-F0D1700FE706}"/>
          </ac:spMkLst>
        </pc:spChg>
        <pc:spChg chg="add del mod">
          <ac:chgData name="Chhabra, Aniket" userId="598e0514-bef3-4e71-b6aa-f2edd6441cff" providerId="ADAL" clId="{3A0A5D55-ED04-41A6-8F2E-B69EB9F4FF13}" dt="2020-10-12T11:38:25.111" v="1684" actId="478"/>
          <ac:spMkLst>
            <pc:docMk/>
            <pc:sldMk cId="3663992576" sldId="532"/>
            <ac:spMk id="17" creationId="{A84D3D26-19A1-4A64-B2E4-F09CC1868F8D}"/>
          </ac:spMkLst>
        </pc:spChg>
        <pc:spChg chg="add mod">
          <ac:chgData name="Chhabra, Aniket" userId="598e0514-bef3-4e71-b6aa-f2edd6441cff" providerId="ADAL" clId="{3A0A5D55-ED04-41A6-8F2E-B69EB9F4FF13}" dt="2020-10-12T11:38:47.345" v="1723" actId="1035"/>
          <ac:spMkLst>
            <pc:docMk/>
            <pc:sldMk cId="3663992576" sldId="532"/>
            <ac:spMk id="18" creationId="{E53D6D80-2472-4798-9483-8EE3918D2E15}"/>
          </ac:spMkLst>
        </pc:spChg>
        <pc:spChg chg="add mod">
          <ac:chgData name="Chhabra, Aniket" userId="598e0514-bef3-4e71-b6aa-f2edd6441cff" providerId="ADAL" clId="{3A0A5D55-ED04-41A6-8F2E-B69EB9F4FF13}" dt="2020-10-12T11:39:51.971" v="1758" actId="1038"/>
          <ac:spMkLst>
            <pc:docMk/>
            <pc:sldMk cId="3663992576" sldId="532"/>
            <ac:spMk id="19" creationId="{B992CFFF-110C-4F65-BC9E-32411E87349B}"/>
          </ac:spMkLst>
        </pc:spChg>
        <pc:spChg chg="add del mod">
          <ac:chgData name="Chhabra, Aniket" userId="598e0514-bef3-4e71-b6aa-f2edd6441cff" providerId="ADAL" clId="{3A0A5D55-ED04-41A6-8F2E-B69EB9F4FF13}" dt="2020-10-12T11:59:10.552" v="2056" actId="21"/>
          <ac:spMkLst>
            <pc:docMk/>
            <pc:sldMk cId="3663992576" sldId="532"/>
            <ac:spMk id="20" creationId="{9A1182AA-4743-40BE-A6DA-54B621AA167C}"/>
          </ac:spMkLst>
        </pc:spChg>
        <pc:spChg chg="add del mod">
          <ac:chgData name="Chhabra, Aniket" userId="598e0514-bef3-4e71-b6aa-f2edd6441cff" providerId="ADAL" clId="{3A0A5D55-ED04-41A6-8F2E-B69EB9F4FF13}" dt="2020-10-12T12:00:04.440" v="2149" actId="478"/>
          <ac:spMkLst>
            <pc:docMk/>
            <pc:sldMk cId="3663992576" sldId="532"/>
            <ac:spMk id="22" creationId="{72C03959-6EB1-49EF-82BB-96CEBCCC2FC0}"/>
          </ac:spMkLst>
        </pc:spChg>
        <pc:spChg chg="add mod">
          <ac:chgData name="Chhabra, Aniket" userId="598e0514-bef3-4e71-b6aa-f2edd6441cff" providerId="ADAL" clId="{3A0A5D55-ED04-41A6-8F2E-B69EB9F4FF13}" dt="2020-10-14T18:54:18.893" v="4880" actId="20577"/>
          <ac:spMkLst>
            <pc:docMk/>
            <pc:sldMk cId="3663992576" sldId="532"/>
            <ac:spMk id="23" creationId="{8BD8906C-BD0D-47A6-8389-CC7108336A66}"/>
          </ac:spMkLst>
        </pc:spChg>
        <pc:spChg chg="del">
          <ac:chgData name="Chhabra, Aniket" userId="598e0514-bef3-4e71-b6aa-f2edd6441cff" providerId="ADAL" clId="{3A0A5D55-ED04-41A6-8F2E-B69EB9F4FF13}" dt="2020-10-12T11:36:46.674" v="1608" actId="478"/>
          <ac:spMkLst>
            <pc:docMk/>
            <pc:sldMk cId="3663992576" sldId="532"/>
            <ac:spMk id="26" creationId="{B94019CE-0182-4CD8-AB65-B3510238F35E}"/>
          </ac:spMkLst>
        </pc:spChg>
        <pc:spChg chg="del mod">
          <ac:chgData name="Chhabra, Aniket" userId="598e0514-bef3-4e71-b6aa-f2edd6441cff" providerId="ADAL" clId="{3A0A5D55-ED04-41A6-8F2E-B69EB9F4FF13}" dt="2020-10-12T11:43:38.331" v="1993" actId="478"/>
          <ac:spMkLst>
            <pc:docMk/>
            <pc:sldMk cId="3663992576" sldId="532"/>
            <ac:spMk id="32" creationId="{0C1829BB-3401-4B9D-BC5C-F04200AC8965}"/>
          </ac:spMkLst>
        </pc:spChg>
        <pc:graphicFrameChg chg="mod">
          <ac:chgData name="Chhabra, Aniket" userId="598e0514-bef3-4e71-b6aa-f2edd6441cff" providerId="ADAL" clId="{3A0A5D55-ED04-41A6-8F2E-B69EB9F4FF13}" dt="2020-10-12T11:36:02.814" v="1561"/>
          <ac:graphicFrameMkLst>
            <pc:docMk/>
            <pc:sldMk cId="3663992576" sldId="532"/>
            <ac:graphicFrameMk id="7" creationId="{FF648BD9-4AD6-4B3D-B00B-B154450C2AE6}"/>
          </ac:graphicFrameMkLst>
        </pc:graphicFrameChg>
        <pc:picChg chg="add del mod">
          <ac:chgData name="Chhabra, Aniket" userId="598e0514-bef3-4e71-b6aa-f2edd6441cff" providerId="ADAL" clId="{3A0A5D55-ED04-41A6-8F2E-B69EB9F4FF13}" dt="2020-10-12T11:44:27.700" v="2000" actId="478"/>
          <ac:picMkLst>
            <pc:docMk/>
            <pc:sldMk cId="3663992576" sldId="532"/>
            <ac:picMk id="10" creationId="{6DB1EF1E-118A-43B8-970F-643F0C217572}"/>
          </ac:picMkLst>
        </pc:picChg>
        <pc:picChg chg="add del mod">
          <ac:chgData name="Chhabra, Aniket" userId="598e0514-bef3-4e71-b6aa-f2edd6441cff" providerId="ADAL" clId="{3A0A5D55-ED04-41A6-8F2E-B69EB9F4FF13}" dt="2020-10-12T11:44:26.679" v="1999" actId="478"/>
          <ac:picMkLst>
            <pc:docMk/>
            <pc:sldMk cId="3663992576" sldId="532"/>
            <ac:picMk id="21" creationId="{20A8BD55-9241-455F-9499-6D931E27D195}"/>
          </ac:picMkLst>
        </pc:picChg>
        <pc:picChg chg="del">
          <ac:chgData name="Chhabra, Aniket" userId="598e0514-bef3-4e71-b6aa-f2edd6441cff" providerId="ADAL" clId="{3A0A5D55-ED04-41A6-8F2E-B69EB9F4FF13}" dt="2020-10-12T11:36:46.674" v="1608" actId="478"/>
          <ac:picMkLst>
            <pc:docMk/>
            <pc:sldMk cId="3663992576" sldId="532"/>
            <ac:picMk id="25" creationId="{20D6E70D-6958-4D4C-A643-C1934D9793B4}"/>
          </ac:picMkLst>
        </pc:picChg>
        <pc:picChg chg="del">
          <ac:chgData name="Chhabra, Aniket" userId="598e0514-bef3-4e71-b6aa-f2edd6441cff" providerId="ADAL" clId="{3A0A5D55-ED04-41A6-8F2E-B69EB9F4FF13}" dt="2020-10-12T11:36:46.674" v="1608" actId="478"/>
          <ac:picMkLst>
            <pc:docMk/>
            <pc:sldMk cId="3663992576" sldId="532"/>
            <ac:picMk id="28" creationId="{725F5DDE-CACA-4DEA-9EF4-A0E1C5047132}"/>
          </ac:picMkLst>
        </pc:picChg>
        <pc:cxnChg chg="add del">
          <ac:chgData name="Chhabra, Aniket" userId="598e0514-bef3-4e71-b6aa-f2edd6441cff" providerId="ADAL" clId="{3A0A5D55-ED04-41A6-8F2E-B69EB9F4FF13}" dt="2020-10-12T11:36:54.982" v="1610" actId="478"/>
          <ac:cxnSpMkLst>
            <pc:docMk/>
            <pc:sldMk cId="3663992576" sldId="532"/>
            <ac:cxnSpMk id="5" creationId="{9EE4F8C5-EB71-4A62-8268-57DAF1B67F0C}"/>
          </ac:cxnSpMkLst>
        </pc:cxnChg>
      </pc:sldChg>
      <pc:sldChg chg="addSp delSp modSp add mod modNotesTx">
        <pc:chgData name="Chhabra, Aniket" userId="598e0514-bef3-4e71-b6aa-f2edd6441cff" providerId="ADAL" clId="{3A0A5D55-ED04-41A6-8F2E-B69EB9F4FF13}" dt="2020-10-14T19:06:18.169" v="4893" actId="20577"/>
        <pc:sldMkLst>
          <pc:docMk/>
          <pc:sldMk cId="2526983124" sldId="533"/>
        </pc:sldMkLst>
        <pc:spChg chg="mod">
          <ac:chgData name="Chhabra, Aniket" userId="598e0514-bef3-4e71-b6aa-f2edd6441cff" providerId="ADAL" clId="{3A0A5D55-ED04-41A6-8F2E-B69EB9F4FF13}" dt="2020-10-12T11:59:58.565" v="2146" actId="20577"/>
          <ac:spMkLst>
            <pc:docMk/>
            <pc:sldMk cId="2526983124" sldId="533"/>
            <ac:spMk id="2" creationId="{82440C3A-A635-4CB2-AABA-F385CCC65AB1}"/>
          </ac:spMkLst>
        </pc:spChg>
        <pc:spChg chg="mod">
          <ac:chgData name="Chhabra, Aniket" userId="598e0514-bef3-4e71-b6aa-f2edd6441cff" providerId="ADAL" clId="{3A0A5D55-ED04-41A6-8F2E-B69EB9F4FF13}" dt="2020-10-12T11:59:57.662" v="2143" actId="6549"/>
          <ac:spMkLst>
            <pc:docMk/>
            <pc:sldMk cId="2526983124" sldId="533"/>
            <ac:spMk id="6" creationId="{6FCBB248-4DFD-41B3-BAA2-BBC7C388911A}"/>
          </ac:spMkLst>
        </pc:spChg>
        <pc:spChg chg="del">
          <ac:chgData name="Chhabra, Aniket" userId="598e0514-bef3-4e71-b6aa-f2edd6441cff" providerId="ADAL" clId="{3A0A5D55-ED04-41A6-8F2E-B69EB9F4FF13}" dt="2020-10-12T11:59:38.926" v="2078" actId="478"/>
          <ac:spMkLst>
            <pc:docMk/>
            <pc:sldMk cId="2526983124" sldId="533"/>
            <ac:spMk id="8" creationId="{5D2A3615-3234-40DB-93DC-A550CE87CB74}"/>
          </ac:spMkLst>
        </pc:spChg>
        <pc:spChg chg="add mod">
          <ac:chgData name="Chhabra, Aniket" userId="598e0514-bef3-4e71-b6aa-f2edd6441cff" providerId="ADAL" clId="{3A0A5D55-ED04-41A6-8F2E-B69EB9F4FF13}" dt="2020-10-13T02:06:16.120" v="3210" actId="1035"/>
          <ac:spMkLst>
            <pc:docMk/>
            <pc:sldMk cId="2526983124" sldId="533"/>
            <ac:spMk id="8" creationId="{BF2329BD-39D0-4327-BEB7-225BDCC9F3E4}"/>
          </ac:spMkLst>
        </pc:spChg>
        <pc:spChg chg="add mod">
          <ac:chgData name="Chhabra, Aniket" userId="598e0514-bef3-4e71-b6aa-f2edd6441cff" providerId="ADAL" clId="{3A0A5D55-ED04-41A6-8F2E-B69EB9F4FF13}" dt="2020-10-13T02:06:16.120" v="3210" actId="1035"/>
          <ac:spMkLst>
            <pc:docMk/>
            <pc:sldMk cId="2526983124" sldId="533"/>
            <ac:spMk id="9" creationId="{E909346B-BE38-4F34-9B98-5B0732546F45}"/>
          </ac:spMkLst>
        </pc:spChg>
        <pc:spChg chg="add del mod">
          <ac:chgData name="Chhabra, Aniket" userId="598e0514-bef3-4e71-b6aa-f2edd6441cff" providerId="ADAL" clId="{3A0A5D55-ED04-41A6-8F2E-B69EB9F4FF13}" dt="2020-10-14T19:05:56.718" v="4884" actId="21"/>
          <ac:spMkLst>
            <pc:docMk/>
            <pc:sldMk cId="2526983124" sldId="533"/>
            <ac:spMk id="10" creationId="{077147BB-B93D-4E65-BA0D-A34BB027DF43}"/>
          </ac:spMkLst>
        </pc:spChg>
        <pc:spChg chg="add mod">
          <ac:chgData name="Chhabra, Aniket" userId="598e0514-bef3-4e71-b6aa-f2edd6441cff" providerId="ADAL" clId="{3A0A5D55-ED04-41A6-8F2E-B69EB9F4FF13}" dt="2020-10-14T19:06:01.832" v="4885" actId="1076"/>
          <ac:spMkLst>
            <pc:docMk/>
            <pc:sldMk cId="2526983124" sldId="533"/>
            <ac:spMk id="11" creationId="{2394694A-446D-48F2-83FA-3BCA238DFDBA}"/>
          </ac:spMkLst>
        </pc:spChg>
        <pc:spChg chg="add del mod">
          <ac:chgData name="Chhabra, Aniket" userId="598e0514-bef3-4e71-b6aa-f2edd6441cff" providerId="ADAL" clId="{3A0A5D55-ED04-41A6-8F2E-B69EB9F4FF13}" dt="2020-10-14T19:06:15.802" v="4891" actId="478"/>
          <ac:spMkLst>
            <pc:docMk/>
            <pc:sldMk cId="2526983124" sldId="533"/>
            <ac:spMk id="12" creationId="{9A949A0C-5DD5-4C32-BAAF-FEA8791BBD32}"/>
          </ac:spMkLst>
        </pc:spChg>
        <pc:spChg chg="del">
          <ac:chgData name="Chhabra, Aniket" userId="598e0514-bef3-4e71-b6aa-f2edd6441cff" providerId="ADAL" clId="{3A0A5D55-ED04-41A6-8F2E-B69EB9F4FF13}" dt="2020-10-12T11:59:42.162" v="2079" actId="478"/>
          <ac:spMkLst>
            <pc:docMk/>
            <pc:sldMk cId="2526983124" sldId="533"/>
            <ac:spMk id="15" creationId="{3AFA8401-552E-4553-BC40-E3ADD2CAF096}"/>
          </ac:spMkLst>
        </pc:spChg>
        <pc:spChg chg="del">
          <ac:chgData name="Chhabra, Aniket" userId="598e0514-bef3-4e71-b6aa-f2edd6441cff" providerId="ADAL" clId="{3A0A5D55-ED04-41A6-8F2E-B69EB9F4FF13}" dt="2020-10-12T11:59:38.926" v="2078" actId="478"/>
          <ac:spMkLst>
            <pc:docMk/>
            <pc:sldMk cId="2526983124" sldId="533"/>
            <ac:spMk id="16" creationId="{DFA05AB4-A6E7-478E-8094-F0D1700FE706}"/>
          </ac:spMkLst>
        </pc:spChg>
        <pc:spChg chg="del">
          <ac:chgData name="Chhabra, Aniket" userId="598e0514-bef3-4e71-b6aa-f2edd6441cff" providerId="ADAL" clId="{3A0A5D55-ED04-41A6-8F2E-B69EB9F4FF13}" dt="2020-10-12T11:59:38.926" v="2078" actId="478"/>
          <ac:spMkLst>
            <pc:docMk/>
            <pc:sldMk cId="2526983124" sldId="533"/>
            <ac:spMk id="18" creationId="{E53D6D80-2472-4798-9483-8EE3918D2E15}"/>
          </ac:spMkLst>
        </pc:spChg>
        <pc:spChg chg="del">
          <ac:chgData name="Chhabra, Aniket" userId="598e0514-bef3-4e71-b6aa-f2edd6441cff" providerId="ADAL" clId="{3A0A5D55-ED04-41A6-8F2E-B69EB9F4FF13}" dt="2020-10-12T11:59:38.926" v="2078" actId="478"/>
          <ac:spMkLst>
            <pc:docMk/>
            <pc:sldMk cId="2526983124" sldId="533"/>
            <ac:spMk id="19" creationId="{B992CFFF-110C-4F65-BC9E-32411E87349B}"/>
          </ac:spMkLst>
        </pc:spChg>
        <pc:spChg chg="add del">
          <ac:chgData name="Chhabra, Aniket" userId="598e0514-bef3-4e71-b6aa-f2edd6441cff" providerId="ADAL" clId="{3A0A5D55-ED04-41A6-8F2E-B69EB9F4FF13}" dt="2020-10-13T02:01:04.607" v="2742" actId="21"/>
          <ac:spMkLst>
            <pc:docMk/>
            <pc:sldMk cId="2526983124" sldId="533"/>
            <ac:spMk id="22" creationId="{72C03959-6EB1-49EF-82BB-96CEBCCC2FC0}"/>
          </ac:spMkLst>
        </pc:spChg>
        <pc:graphicFrameChg chg="mod">
          <ac:chgData name="Chhabra, Aniket" userId="598e0514-bef3-4e71-b6aa-f2edd6441cff" providerId="ADAL" clId="{3A0A5D55-ED04-41A6-8F2E-B69EB9F4FF13}" dt="2020-10-12T11:59:59.076" v="2148"/>
          <ac:graphicFrameMkLst>
            <pc:docMk/>
            <pc:sldMk cId="2526983124" sldId="533"/>
            <ac:graphicFrameMk id="7" creationId="{FF648BD9-4AD6-4B3D-B00B-B154450C2AE6}"/>
          </ac:graphicFrameMkLst>
        </pc:graphicFrameChg>
      </pc:sldChg>
      <pc:sldChg chg="addSp delSp modSp add mod ord">
        <pc:chgData name="Chhabra, Aniket" userId="598e0514-bef3-4e71-b6aa-f2edd6441cff" providerId="ADAL" clId="{3A0A5D55-ED04-41A6-8F2E-B69EB9F4FF13}" dt="2020-10-14T19:37:12.820" v="4901" actId="1036"/>
        <pc:sldMkLst>
          <pc:docMk/>
          <pc:sldMk cId="1793107053" sldId="534"/>
        </pc:sldMkLst>
        <pc:spChg chg="mod">
          <ac:chgData name="Chhabra, Aniket" userId="598e0514-bef3-4e71-b6aa-f2edd6441cff" providerId="ADAL" clId="{3A0A5D55-ED04-41A6-8F2E-B69EB9F4FF13}" dt="2020-10-13T02:18:16.744" v="3547" actId="20577"/>
          <ac:spMkLst>
            <pc:docMk/>
            <pc:sldMk cId="1793107053" sldId="534"/>
            <ac:spMk id="2" creationId="{82440C3A-A635-4CB2-AABA-F385CCC65AB1}"/>
          </ac:spMkLst>
        </pc:spChg>
        <pc:spChg chg="mod">
          <ac:chgData name="Chhabra, Aniket" userId="598e0514-bef3-4e71-b6aa-f2edd6441cff" providerId="ADAL" clId="{3A0A5D55-ED04-41A6-8F2E-B69EB9F4FF13}" dt="2020-10-13T02:11:29.467" v="3377" actId="20577"/>
          <ac:spMkLst>
            <pc:docMk/>
            <pc:sldMk cId="1793107053" sldId="534"/>
            <ac:spMk id="3" creationId="{643B6540-D072-4BE4-9C5D-272364F02409}"/>
          </ac:spMkLst>
        </pc:spChg>
        <pc:spChg chg="add mod">
          <ac:chgData name="Chhabra, Aniket" userId="598e0514-bef3-4e71-b6aa-f2edd6441cff" providerId="ADAL" clId="{3A0A5D55-ED04-41A6-8F2E-B69EB9F4FF13}" dt="2020-10-13T02:18:01.626" v="3525" actId="14100"/>
          <ac:spMkLst>
            <pc:docMk/>
            <pc:sldMk cId="1793107053" sldId="534"/>
            <ac:spMk id="5" creationId="{2FB980E5-CD6A-43D3-94E5-7C5B4EDD9482}"/>
          </ac:spMkLst>
        </pc:spChg>
        <pc:spChg chg="mod">
          <ac:chgData name="Chhabra, Aniket" userId="598e0514-bef3-4e71-b6aa-f2edd6441cff" providerId="ADAL" clId="{3A0A5D55-ED04-41A6-8F2E-B69EB9F4FF13}" dt="2020-10-13T02:10:43.472" v="3267" actId="6549"/>
          <ac:spMkLst>
            <pc:docMk/>
            <pc:sldMk cId="1793107053" sldId="534"/>
            <ac:spMk id="6" creationId="{6FCBB248-4DFD-41B3-BAA2-BBC7C388911A}"/>
          </ac:spMkLst>
        </pc:spChg>
        <pc:spChg chg="del">
          <ac:chgData name="Chhabra, Aniket" userId="598e0514-bef3-4e71-b6aa-f2edd6441cff" providerId="ADAL" clId="{3A0A5D55-ED04-41A6-8F2E-B69EB9F4FF13}" dt="2020-10-13T02:12:24.961" v="3380" actId="478"/>
          <ac:spMkLst>
            <pc:docMk/>
            <pc:sldMk cId="1793107053" sldId="534"/>
            <ac:spMk id="8" creationId="{BF2329BD-39D0-4327-BEB7-225BDCC9F3E4}"/>
          </ac:spMkLst>
        </pc:spChg>
        <pc:spChg chg="mod">
          <ac:chgData name="Chhabra, Aniket" userId="598e0514-bef3-4e71-b6aa-f2edd6441cff" providerId="ADAL" clId="{3A0A5D55-ED04-41A6-8F2E-B69EB9F4FF13}" dt="2020-10-13T02:17:30.247" v="3514" actId="1076"/>
          <ac:spMkLst>
            <pc:docMk/>
            <pc:sldMk cId="1793107053" sldId="534"/>
            <ac:spMk id="9" creationId="{E909346B-BE38-4F34-9B98-5B0732546F45}"/>
          </ac:spMkLst>
        </pc:spChg>
        <pc:spChg chg="del">
          <ac:chgData name="Chhabra, Aniket" userId="598e0514-bef3-4e71-b6aa-f2edd6441cff" providerId="ADAL" clId="{3A0A5D55-ED04-41A6-8F2E-B69EB9F4FF13}" dt="2020-10-13T02:12:24.961" v="3380" actId="478"/>
          <ac:spMkLst>
            <pc:docMk/>
            <pc:sldMk cId="1793107053" sldId="534"/>
            <ac:spMk id="10" creationId="{077147BB-B93D-4E65-BA0D-A34BB027DF43}"/>
          </ac:spMkLst>
        </pc:spChg>
        <pc:spChg chg="add del mod">
          <ac:chgData name="Chhabra, Aniket" userId="598e0514-bef3-4e71-b6aa-f2edd6441cff" providerId="ADAL" clId="{3A0A5D55-ED04-41A6-8F2E-B69EB9F4FF13}" dt="2020-10-13T03:22:25.310" v="4629" actId="1076"/>
          <ac:spMkLst>
            <pc:docMk/>
            <pc:sldMk cId="1793107053" sldId="534"/>
            <ac:spMk id="11" creationId="{2394694A-446D-48F2-83FA-3BCA238DFDBA}"/>
          </ac:spMkLst>
        </pc:spChg>
        <pc:spChg chg="add del mod">
          <ac:chgData name="Chhabra, Aniket" userId="598e0514-bef3-4e71-b6aa-f2edd6441cff" providerId="ADAL" clId="{3A0A5D55-ED04-41A6-8F2E-B69EB9F4FF13}" dt="2020-10-13T02:14:33.831" v="3454" actId="478"/>
          <ac:spMkLst>
            <pc:docMk/>
            <pc:sldMk cId="1793107053" sldId="534"/>
            <ac:spMk id="12" creationId="{6C545403-A9ED-4F34-8260-66FFAF353A2B}"/>
          </ac:spMkLst>
        </pc:spChg>
        <pc:spChg chg="add mod">
          <ac:chgData name="Chhabra, Aniket" userId="598e0514-bef3-4e71-b6aa-f2edd6441cff" providerId="ADAL" clId="{3A0A5D55-ED04-41A6-8F2E-B69EB9F4FF13}" dt="2020-10-13T02:28:12.604" v="3924" actId="20577"/>
          <ac:spMkLst>
            <pc:docMk/>
            <pc:sldMk cId="1793107053" sldId="534"/>
            <ac:spMk id="13" creationId="{754BD1E3-0189-4A2F-9D43-788169F21D49}"/>
          </ac:spMkLst>
        </pc:spChg>
        <pc:spChg chg="add mod">
          <ac:chgData name="Chhabra, Aniket" userId="598e0514-bef3-4e71-b6aa-f2edd6441cff" providerId="ADAL" clId="{3A0A5D55-ED04-41A6-8F2E-B69EB9F4FF13}" dt="2020-10-13T02:28:28.812" v="3937" actId="1076"/>
          <ac:spMkLst>
            <pc:docMk/>
            <pc:sldMk cId="1793107053" sldId="534"/>
            <ac:spMk id="17" creationId="{F5E43015-D31A-4893-8845-842094ECBBF2}"/>
          </ac:spMkLst>
        </pc:spChg>
        <pc:spChg chg="add del mod">
          <ac:chgData name="Chhabra, Aniket" userId="598e0514-bef3-4e71-b6aa-f2edd6441cff" providerId="ADAL" clId="{3A0A5D55-ED04-41A6-8F2E-B69EB9F4FF13}" dt="2020-10-13T02:24:07.366" v="3773"/>
          <ac:spMkLst>
            <pc:docMk/>
            <pc:sldMk cId="1793107053" sldId="534"/>
            <ac:spMk id="18" creationId="{58A3F38D-33BA-4266-A4EE-144B885A897F}"/>
          </ac:spMkLst>
        </pc:spChg>
        <pc:spChg chg="add del mod">
          <ac:chgData name="Chhabra, Aniket" userId="598e0514-bef3-4e71-b6aa-f2edd6441cff" providerId="ADAL" clId="{3A0A5D55-ED04-41A6-8F2E-B69EB9F4FF13}" dt="2020-10-13T02:27:42.400" v="3922" actId="478"/>
          <ac:spMkLst>
            <pc:docMk/>
            <pc:sldMk cId="1793107053" sldId="534"/>
            <ac:spMk id="19" creationId="{4BF0D0CF-BAE4-4FF0-9C51-9077A1F0ABDE}"/>
          </ac:spMkLst>
        </pc:spChg>
        <pc:spChg chg="add mod">
          <ac:chgData name="Chhabra, Aniket" userId="598e0514-bef3-4e71-b6aa-f2edd6441cff" providerId="ADAL" clId="{3A0A5D55-ED04-41A6-8F2E-B69EB9F4FF13}" dt="2020-10-13T02:28:28.812" v="3937" actId="1076"/>
          <ac:spMkLst>
            <pc:docMk/>
            <pc:sldMk cId="1793107053" sldId="534"/>
            <ac:spMk id="20" creationId="{FD577EE2-CD86-4194-9F50-D90EC67B78CC}"/>
          </ac:spMkLst>
        </pc:spChg>
        <pc:spChg chg="add del mod">
          <ac:chgData name="Chhabra, Aniket" userId="598e0514-bef3-4e71-b6aa-f2edd6441cff" providerId="ADAL" clId="{3A0A5D55-ED04-41A6-8F2E-B69EB9F4FF13}" dt="2020-10-13T02:26:07.510" v="3915" actId="478"/>
          <ac:spMkLst>
            <pc:docMk/>
            <pc:sldMk cId="1793107053" sldId="534"/>
            <ac:spMk id="21" creationId="{69624A80-36C9-4F8F-8838-446A02F677F6}"/>
          </ac:spMkLst>
        </pc:spChg>
        <pc:spChg chg="add mod">
          <ac:chgData name="Chhabra, Aniket" userId="598e0514-bef3-4e71-b6aa-f2edd6441cff" providerId="ADAL" clId="{3A0A5D55-ED04-41A6-8F2E-B69EB9F4FF13}" dt="2020-10-13T02:28:28.812" v="3937" actId="1076"/>
          <ac:spMkLst>
            <pc:docMk/>
            <pc:sldMk cId="1793107053" sldId="534"/>
            <ac:spMk id="22" creationId="{273FB6E1-C320-4F2F-BC81-B7E233199FF5}"/>
          </ac:spMkLst>
        </pc:spChg>
        <pc:spChg chg="add del mod">
          <ac:chgData name="Chhabra, Aniket" userId="598e0514-bef3-4e71-b6aa-f2edd6441cff" providerId="ADAL" clId="{3A0A5D55-ED04-41A6-8F2E-B69EB9F4FF13}" dt="2020-10-13T02:28:59.809" v="3942" actId="478"/>
          <ac:spMkLst>
            <pc:docMk/>
            <pc:sldMk cId="1793107053" sldId="534"/>
            <ac:spMk id="24" creationId="{1C33DD17-1D11-4DD1-BEA2-D452B2E65697}"/>
          </ac:spMkLst>
        </pc:spChg>
        <pc:spChg chg="add mod">
          <ac:chgData name="Chhabra, Aniket" userId="598e0514-bef3-4e71-b6aa-f2edd6441cff" providerId="ADAL" clId="{3A0A5D55-ED04-41A6-8F2E-B69EB9F4FF13}" dt="2020-10-13T02:29:07.139" v="3944" actId="1076"/>
          <ac:spMkLst>
            <pc:docMk/>
            <pc:sldMk cId="1793107053" sldId="534"/>
            <ac:spMk id="25" creationId="{E91A6DA9-78E7-4BAF-A337-DF83BE69E431}"/>
          </ac:spMkLst>
        </pc:spChg>
        <pc:spChg chg="mod topLvl">
          <ac:chgData name="Chhabra, Aniket" userId="598e0514-bef3-4e71-b6aa-f2edd6441cff" providerId="ADAL" clId="{3A0A5D55-ED04-41A6-8F2E-B69EB9F4FF13}" dt="2020-10-13T02:30:03.495" v="4003" actId="14100"/>
          <ac:spMkLst>
            <pc:docMk/>
            <pc:sldMk cId="1793107053" sldId="534"/>
            <ac:spMk id="27" creationId="{2091A377-8EFA-44CB-954F-7DA91016703C}"/>
          </ac:spMkLst>
        </pc:spChg>
        <pc:spChg chg="del mod topLvl">
          <ac:chgData name="Chhabra, Aniket" userId="598e0514-bef3-4e71-b6aa-f2edd6441cff" providerId="ADAL" clId="{3A0A5D55-ED04-41A6-8F2E-B69EB9F4FF13}" dt="2020-10-13T02:29:23.348" v="3949" actId="478"/>
          <ac:spMkLst>
            <pc:docMk/>
            <pc:sldMk cId="1793107053" sldId="534"/>
            <ac:spMk id="28" creationId="{C5E1FEF1-C6A6-4D3E-9841-555ADF7E0A6E}"/>
          </ac:spMkLst>
        </pc:spChg>
        <pc:spChg chg="add mod">
          <ac:chgData name="Chhabra, Aniket" userId="598e0514-bef3-4e71-b6aa-f2edd6441cff" providerId="ADAL" clId="{3A0A5D55-ED04-41A6-8F2E-B69EB9F4FF13}" dt="2020-10-14T19:37:12.820" v="4901" actId="1036"/>
          <ac:spMkLst>
            <pc:docMk/>
            <pc:sldMk cId="1793107053" sldId="534"/>
            <ac:spMk id="30" creationId="{F563360A-6BA1-49FD-A33D-B44A35085FD0}"/>
          </ac:spMkLst>
        </pc:spChg>
        <pc:grpChg chg="add mod">
          <ac:chgData name="Chhabra, Aniket" userId="598e0514-bef3-4e71-b6aa-f2edd6441cff" providerId="ADAL" clId="{3A0A5D55-ED04-41A6-8F2E-B69EB9F4FF13}" dt="2020-10-13T02:28:14.863" v="3925" actId="14100"/>
          <ac:grpSpMkLst>
            <pc:docMk/>
            <pc:sldMk cId="1793107053" sldId="534"/>
            <ac:grpSpMk id="14" creationId="{5EB72D7C-1111-4ED8-8797-72FEA6BB2D1D}"/>
          </ac:grpSpMkLst>
        </pc:grpChg>
        <pc:grpChg chg="add del mod">
          <ac:chgData name="Chhabra, Aniket" userId="598e0514-bef3-4e71-b6aa-f2edd6441cff" providerId="ADAL" clId="{3A0A5D55-ED04-41A6-8F2E-B69EB9F4FF13}" dt="2020-10-13T02:29:23.348" v="3949" actId="478"/>
          <ac:grpSpMkLst>
            <pc:docMk/>
            <pc:sldMk cId="1793107053" sldId="534"/>
            <ac:grpSpMk id="26" creationId="{4A6E77DD-39BE-48D2-B812-C5781D16DA5D}"/>
          </ac:grpSpMkLst>
        </pc:grpChg>
        <pc:graphicFrameChg chg="mod">
          <ac:chgData name="Chhabra, Aniket" userId="598e0514-bef3-4e71-b6aa-f2edd6441cff" providerId="ADAL" clId="{3A0A5D55-ED04-41A6-8F2E-B69EB9F4FF13}" dt="2020-10-13T02:18:17.247" v="3549"/>
          <ac:graphicFrameMkLst>
            <pc:docMk/>
            <pc:sldMk cId="1793107053" sldId="534"/>
            <ac:graphicFrameMk id="7" creationId="{FF648BD9-4AD6-4B3D-B00B-B154450C2AE6}"/>
          </ac:graphicFrameMkLst>
        </pc:graphicFrameChg>
        <pc:picChg chg="add del">
          <ac:chgData name="Chhabra, Aniket" userId="598e0514-bef3-4e71-b6aa-f2edd6441cff" providerId="ADAL" clId="{3A0A5D55-ED04-41A6-8F2E-B69EB9F4FF13}" dt="2020-10-13T02:20:13.616" v="3578" actId="478"/>
          <ac:picMkLst>
            <pc:docMk/>
            <pc:sldMk cId="1793107053" sldId="534"/>
            <ac:picMk id="15" creationId="{12AE4156-BCF2-4B8C-8866-918BFB4767AD}"/>
          </ac:picMkLst>
        </pc:picChg>
        <pc:picChg chg="add mod">
          <ac:chgData name="Chhabra, Aniket" userId="598e0514-bef3-4e71-b6aa-f2edd6441cff" providerId="ADAL" clId="{3A0A5D55-ED04-41A6-8F2E-B69EB9F4FF13}" dt="2020-10-14T02:27:59.396" v="4841" actId="1076"/>
          <ac:picMkLst>
            <pc:docMk/>
            <pc:sldMk cId="1793107053" sldId="534"/>
            <ac:picMk id="16" creationId="{DE47B844-1644-4CB6-A14C-FC426BC36FA6}"/>
          </ac:picMkLst>
        </pc:picChg>
        <pc:picChg chg="add mod">
          <ac:chgData name="Chhabra, Aniket" userId="598e0514-bef3-4e71-b6aa-f2edd6441cff" providerId="ADAL" clId="{3A0A5D55-ED04-41A6-8F2E-B69EB9F4FF13}" dt="2020-10-13T02:28:28.812" v="3937" actId="1076"/>
          <ac:picMkLst>
            <pc:docMk/>
            <pc:sldMk cId="1793107053" sldId="534"/>
            <ac:picMk id="23" creationId="{74F8D043-AC6F-43F4-B72E-14F779307BBB}"/>
          </ac:picMkLst>
        </pc:picChg>
        <pc:picChg chg="add mod">
          <ac:chgData name="Chhabra, Aniket" userId="598e0514-bef3-4e71-b6aa-f2edd6441cff" providerId="ADAL" clId="{3A0A5D55-ED04-41A6-8F2E-B69EB9F4FF13}" dt="2020-10-14T02:23:45.566" v="4692" actId="1037"/>
          <ac:picMkLst>
            <pc:docMk/>
            <pc:sldMk cId="1793107053" sldId="534"/>
            <ac:picMk id="29" creationId="{363E651B-5C95-460B-8CFA-1EE6B78EF3E2}"/>
          </ac:picMkLst>
        </pc:picChg>
        <pc:picChg chg="add mod">
          <ac:chgData name="Chhabra, Aniket" userId="598e0514-bef3-4e71-b6aa-f2edd6441cff" providerId="ADAL" clId="{3A0A5D55-ED04-41A6-8F2E-B69EB9F4FF13}" dt="2020-10-14T02:23:45.566" v="4692" actId="1037"/>
          <ac:picMkLst>
            <pc:docMk/>
            <pc:sldMk cId="1793107053" sldId="534"/>
            <ac:picMk id="31" creationId="{B0E694AD-1B49-4F4E-8ED8-0B1650C77FD1}"/>
          </ac:picMkLst>
        </pc:picChg>
      </pc:sldChg>
      <pc:sldChg chg="addSp delSp modSp add mod modNotesTx">
        <pc:chgData name="Chhabra, Aniket" userId="598e0514-bef3-4e71-b6aa-f2edd6441cff" providerId="ADAL" clId="{3A0A5D55-ED04-41A6-8F2E-B69EB9F4FF13}" dt="2020-10-13T03:14:34.154" v="4454" actId="1076"/>
        <pc:sldMkLst>
          <pc:docMk/>
          <pc:sldMk cId="232185724" sldId="535"/>
        </pc:sldMkLst>
        <pc:spChg chg="mod">
          <ac:chgData name="Chhabra, Aniket" userId="598e0514-bef3-4e71-b6aa-f2edd6441cff" providerId="ADAL" clId="{3A0A5D55-ED04-41A6-8F2E-B69EB9F4FF13}" dt="2020-10-13T02:58:44.376" v="4120" actId="20577"/>
          <ac:spMkLst>
            <pc:docMk/>
            <pc:sldMk cId="232185724" sldId="535"/>
            <ac:spMk id="2" creationId="{82440C3A-A635-4CB2-AABA-F385CCC65AB1}"/>
          </ac:spMkLst>
        </pc:spChg>
        <pc:spChg chg="mod">
          <ac:chgData name="Chhabra, Aniket" userId="598e0514-bef3-4e71-b6aa-f2edd6441cff" providerId="ADAL" clId="{3A0A5D55-ED04-41A6-8F2E-B69EB9F4FF13}" dt="2020-10-13T02:59:24.176" v="4162" actId="27636"/>
          <ac:spMkLst>
            <pc:docMk/>
            <pc:sldMk cId="232185724" sldId="535"/>
            <ac:spMk id="3" creationId="{643B6540-D072-4BE4-9C5D-272364F02409}"/>
          </ac:spMkLst>
        </pc:spChg>
        <pc:spChg chg="mod">
          <ac:chgData name="Chhabra, Aniket" userId="598e0514-bef3-4e71-b6aa-f2edd6441cff" providerId="ADAL" clId="{3A0A5D55-ED04-41A6-8F2E-B69EB9F4FF13}" dt="2020-10-13T02:58:38.861" v="4084" actId="6549"/>
          <ac:spMkLst>
            <pc:docMk/>
            <pc:sldMk cId="232185724" sldId="535"/>
            <ac:spMk id="6" creationId="{6FCBB248-4DFD-41B3-BAA2-BBC7C388911A}"/>
          </ac:spMkLst>
        </pc:spChg>
        <pc:spChg chg="del">
          <ac:chgData name="Chhabra, Aniket" userId="598e0514-bef3-4e71-b6aa-f2edd6441cff" providerId="ADAL" clId="{3A0A5D55-ED04-41A6-8F2E-B69EB9F4FF13}" dt="2020-10-13T03:00:35.871" v="4164" actId="478"/>
          <ac:spMkLst>
            <pc:docMk/>
            <pc:sldMk cId="232185724" sldId="535"/>
            <ac:spMk id="8" creationId="{BF2329BD-39D0-4327-BEB7-225BDCC9F3E4}"/>
          </ac:spMkLst>
        </pc:spChg>
        <pc:spChg chg="del">
          <ac:chgData name="Chhabra, Aniket" userId="598e0514-bef3-4e71-b6aa-f2edd6441cff" providerId="ADAL" clId="{3A0A5D55-ED04-41A6-8F2E-B69EB9F4FF13}" dt="2020-10-13T03:00:32.970" v="4163" actId="478"/>
          <ac:spMkLst>
            <pc:docMk/>
            <pc:sldMk cId="232185724" sldId="535"/>
            <ac:spMk id="9" creationId="{E909346B-BE38-4F34-9B98-5B0732546F45}"/>
          </ac:spMkLst>
        </pc:spChg>
        <pc:spChg chg="del">
          <ac:chgData name="Chhabra, Aniket" userId="598e0514-bef3-4e71-b6aa-f2edd6441cff" providerId="ADAL" clId="{3A0A5D55-ED04-41A6-8F2E-B69EB9F4FF13}" dt="2020-10-13T03:00:37.459" v="4165" actId="478"/>
          <ac:spMkLst>
            <pc:docMk/>
            <pc:sldMk cId="232185724" sldId="535"/>
            <ac:spMk id="10" creationId="{077147BB-B93D-4E65-BA0D-A34BB027DF43}"/>
          </ac:spMkLst>
        </pc:spChg>
        <pc:spChg chg="mod">
          <ac:chgData name="Chhabra, Aniket" userId="598e0514-bef3-4e71-b6aa-f2edd6441cff" providerId="ADAL" clId="{3A0A5D55-ED04-41A6-8F2E-B69EB9F4FF13}" dt="2020-10-13T03:10:11.541" v="4376" actId="1076"/>
          <ac:spMkLst>
            <pc:docMk/>
            <pc:sldMk cId="232185724" sldId="535"/>
            <ac:spMk id="11" creationId="{2394694A-446D-48F2-83FA-3BCA238DFDBA}"/>
          </ac:spMkLst>
        </pc:spChg>
        <pc:spChg chg="add mod">
          <ac:chgData name="Chhabra, Aniket" userId="598e0514-bef3-4e71-b6aa-f2edd6441cff" providerId="ADAL" clId="{3A0A5D55-ED04-41A6-8F2E-B69EB9F4FF13}" dt="2020-10-13T03:10:15.674" v="4387" actId="1035"/>
          <ac:spMkLst>
            <pc:docMk/>
            <pc:sldMk cId="232185724" sldId="535"/>
            <ac:spMk id="14" creationId="{5C81EE84-158B-4DA5-A20C-A5A346724FA1}"/>
          </ac:spMkLst>
        </pc:spChg>
        <pc:spChg chg="add del mod">
          <ac:chgData name="Chhabra, Aniket" userId="598e0514-bef3-4e71-b6aa-f2edd6441cff" providerId="ADAL" clId="{3A0A5D55-ED04-41A6-8F2E-B69EB9F4FF13}" dt="2020-10-13T03:07:51.544" v="4307"/>
          <ac:spMkLst>
            <pc:docMk/>
            <pc:sldMk cId="232185724" sldId="535"/>
            <ac:spMk id="15" creationId="{34D8725B-9E9D-4F4F-9A94-26B10D03E76D}"/>
          </ac:spMkLst>
        </pc:spChg>
        <pc:spChg chg="add mod">
          <ac:chgData name="Chhabra, Aniket" userId="598e0514-bef3-4e71-b6aa-f2edd6441cff" providerId="ADAL" clId="{3A0A5D55-ED04-41A6-8F2E-B69EB9F4FF13}" dt="2020-10-13T03:10:15.674" v="4387" actId="1035"/>
          <ac:spMkLst>
            <pc:docMk/>
            <pc:sldMk cId="232185724" sldId="535"/>
            <ac:spMk id="16" creationId="{216D10FE-0B8C-402E-BF06-34A937B494B3}"/>
          </ac:spMkLst>
        </pc:spChg>
        <pc:spChg chg="add mod">
          <ac:chgData name="Chhabra, Aniket" userId="598e0514-bef3-4e71-b6aa-f2edd6441cff" providerId="ADAL" clId="{3A0A5D55-ED04-41A6-8F2E-B69EB9F4FF13}" dt="2020-10-13T03:08:36.745" v="4329" actId="571"/>
          <ac:spMkLst>
            <pc:docMk/>
            <pc:sldMk cId="232185724" sldId="535"/>
            <ac:spMk id="17" creationId="{540E18A1-EF5A-457C-BEAD-94627384AE3E}"/>
          </ac:spMkLst>
        </pc:spChg>
        <pc:spChg chg="add mod">
          <ac:chgData name="Chhabra, Aniket" userId="598e0514-bef3-4e71-b6aa-f2edd6441cff" providerId="ADAL" clId="{3A0A5D55-ED04-41A6-8F2E-B69EB9F4FF13}" dt="2020-10-13T03:08:36.745" v="4329" actId="571"/>
          <ac:spMkLst>
            <pc:docMk/>
            <pc:sldMk cId="232185724" sldId="535"/>
            <ac:spMk id="18" creationId="{E0B6D76A-1BC4-44A3-9C02-F60F72514963}"/>
          </ac:spMkLst>
        </pc:spChg>
        <pc:spChg chg="add mod">
          <ac:chgData name="Chhabra, Aniket" userId="598e0514-bef3-4e71-b6aa-f2edd6441cff" providerId="ADAL" clId="{3A0A5D55-ED04-41A6-8F2E-B69EB9F4FF13}" dt="2020-10-13T03:08:36.745" v="4329" actId="571"/>
          <ac:spMkLst>
            <pc:docMk/>
            <pc:sldMk cId="232185724" sldId="535"/>
            <ac:spMk id="19" creationId="{AAE2B5F6-168E-4734-A5B1-CEB9B151A3F2}"/>
          </ac:spMkLst>
        </pc:spChg>
        <pc:spChg chg="add mod">
          <ac:chgData name="Chhabra, Aniket" userId="598e0514-bef3-4e71-b6aa-f2edd6441cff" providerId="ADAL" clId="{3A0A5D55-ED04-41A6-8F2E-B69EB9F4FF13}" dt="2020-10-13T03:14:05.758" v="4450" actId="1076"/>
          <ac:spMkLst>
            <pc:docMk/>
            <pc:sldMk cId="232185724" sldId="535"/>
            <ac:spMk id="20" creationId="{3FA291C7-7C29-45CF-8C9D-DEA91F03625E}"/>
          </ac:spMkLst>
        </pc:spChg>
        <pc:spChg chg="add mod">
          <ac:chgData name="Chhabra, Aniket" userId="598e0514-bef3-4e71-b6aa-f2edd6441cff" providerId="ADAL" clId="{3A0A5D55-ED04-41A6-8F2E-B69EB9F4FF13}" dt="2020-10-13T03:14:20.395" v="4452" actId="1076"/>
          <ac:spMkLst>
            <pc:docMk/>
            <pc:sldMk cId="232185724" sldId="535"/>
            <ac:spMk id="24" creationId="{F80F5F14-F4D5-4FAB-B8B1-FCD4AF70E354}"/>
          </ac:spMkLst>
        </pc:spChg>
        <pc:spChg chg="add mod">
          <ac:chgData name="Chhabra, Aniket" userId="598e0514-bef3-4e71-b6aa-f2edd6441cff" providerId="ADAL" clId="{3A0A5D55-ED04-41A6-8F2E-B69EB9F4FF13}" dt="2020-10-13T03:14:34.154" v="4454" actId="1076"/>
          <ac:spMkLst>
            <pc:docMk/>
            <pc:sldMk cId="232185724" sldId="535"/>
            <ac:spMk id="25" creationId="{06E03A89-504B-41E6-A684-EA317E9B7F88}"/>
          </ac:spMkLst>
        </pc:spChg>
        <pc:graphicFrameChg chg="mod">
          <ac:chgData name="Chhabra, Aniket" userId="598e0514-bef3-4e71-b6aa-f2edd6441cff" providerId="ADAL" clId="{3A0A5D55-ED04-41A6-8F2E-B69EB9F4FF13}" dt="2020-10-13T02:58:44.877" v="4122"/>
          <ac:graphicFrameMkLst>
            <pc:docMk/>
            <pc:sldMk cId="232185724" sldId="535"/>
            <ac:graphicFrameMk id="7" creationId="{FF648BD9-4AD6-4B3D-B00B-B154450C2AE6}"/>
          </ac:graphicFrameMkLst>
        </pc:graphicFrameChg>
        <pc:picChg chg="add mod">
          <ac:chgData name="Chhabra, Aniket" userId="598e0514-bef3-4e71-b6aa-f2edd6441cff" providerId="ADAL" clId="{3A0A5D55-ED04-41A6-8F2E-B69EB9F4FF13}" dt="2020-10-13T03:00:49.320" v="4172" actId="1076"/>
          <ac:picMkLst>
            <pc:docMk/>
            <pc:sldMk cId="232185724" sldId="535"/>
            <ac:picMk id="4" creationId="{461FDE7F-8AF8-4139-BA6A-D8D8193F596A}"/>
          </ac:picMkLst>
        </pc:picChg>
        <pc:picChg chg="add del">
          <ac:chgData name="Chhabra, Aniket" userId="598e0514-bef3-4e71-b6aa-f2edd6441cff" providerId="ADAL" clId="{3A0A5D55-ED04-41A6-8F2E-B69EB9F4FF13}" dt="2020-10-13T03:02:54.917" v="4174" actId="478"/>
          <ac:picMkLst>
            <pc:docMk/>
            <pc:sldMk cId="232185724" sldId="535"/>
            <ac:picMk id="5" creationId="{137752ED-3084-4DB3-B459-2415504750F8}"/>
          </ac:picMkLst>
        </pc:picChg>
        <pc:picChg chg="add mod">
          <ac:chgData name="Chhabra, Aniket" userId="598e0514-bef3-4e71-b6aa-f2edd6441cff" providerId="ADAL" clId="{3A0A5D55-ED04-41A6-8F2E-B69EB9F4FF13}" dt="2020-10-13T03:03:08.642" v="4179" actId="14100"/>
          <ac:picMkLst>
            <pc:docMk/>
            <pc:sldMk cId="232185724" sldId="535"/>
            <ac:picMk id="12" creationId="{E4B4EA70-2C93-430D-BA14-5409165CB3B4}"/>
          </ac:picMkLst>
        </pc:picChg>
        <pc:picChg chg="add mod">
          <ac:chgData name="Chhabra, Aniket" userId="598e0514-bef3-4e71-b6aa-f2edd6441cff" providerId="ADAL" clId="{3A0A5D55-ED04-41A6-8F2E-B69EB9F4FF13}" dt="2020-10-13T03:14:02.773" v="4449" actId="1076"/>
          <ac:picMkLst>
            <pc:docMk/>
            <pc:sldMk cId="232185724" sldId="535"/>
            <ac:picMk id="21" creationId="{7FB2E719-281A-4CEC-839C-149A7C0653F9}"/>
          </ac:picMkLst>
        </pc:picChg>
        <pc:picChg chg="add mod">
          <ac:chgData name="Chhabra, Aniket" userId="598e0514-bef3-4e71-b6aa-f2edd6441cff" providerId="ADAL" clId="{3A0A5D55-ED04-41A6-8F2E-B69EB9F4FF13}" dt="2020-10-13T03:12:42.935" v="4425" actId="14100"/>
          <ac:picMkLst>
            <pc:docMk/>
            <pc:sldMk cId="232185724" sldId="535"/>
            <ac:picMk id="22" creationId="{11D20DE7-7481-4E36-BE50-AE33497B3759}"/>
          </ac:picMkLst>
        </pc:picChg>
        <pc:picChg chg="add del mod">
          <ac:chgData name="Chhabra, Aniket" userId="598e0514-bef3-4e71-b6aa-f2edd6441cff" providerId="ADAL" clId="{3A0A5D55-ED04-41A6-8F2E-B69EB9F4FF13}" dt="2020-10-13T03:13:25.484" v="4432" actId="478"/>
          <ac:picMkLst>
            <pc:docMk/>
            <pc:sldMk cId="232185724" sldId="535"/>
            <ac:picMk id="23" creationId="{2756E39E-6C2F-467A-A5C7-5EB54BF20FF0}"/>
          </ac:picMkLst>
        </pc:picChg>
      </pc:sldChg>
      <pc:sldChg chg="addSp delSp modSp new add mod">
        <pc:chgData name="Chhabra, Aniket" userId="598e0514-bef3-4e71-b6aa-f2edd6441cff" providerId="ADAL" clId="{3A0A5D55-ED04-41A6-8F2E-B69EB9F4FF13}" dt="2020-10-15T03:46:35.090" v="4993" actId="1076"/>
        <pc:sldMkLst>
          <pc:docMk/>
          <pc:sldMk cId="2760015044" sldId="536"/>
        </pc:sldMkLst>
        <pc:spChg chg="add del mod ord">
          <ac:chgData name="Chhabra, Aniket" userId="598e0514-bef3-4e71-b6aa-f2edd6441cff" providerId="ADAL" clId="{3A0A5D55-ED04-41A6-8F2E-B69EB9F4FF13}" dt="2020-10-13T03:23:54.992" v="4645" actId="1035"/>
          <ac:spMkLst>
            <pc:docMk/>
            <pc:sldMk cId="2760015044" sldId="536"/>
            <ac:spMk id="2" creationId="{58FE040B-CB40-4740-A37C-E7ED67ECBFAC}"/>
          </ac:spMkLst>
        </pc:spChg>
        <pc:spChg chg="del">
          <ac:chgData name="Chhabra, Aniket" userId="598e0514-bef3-4e71-b6aa-f2edd6441cff" providerId="ADAL" clId="{3A0A5D55-ED04-41A6-8F2E-B69EB9F4FF13}" dt="2020-10-13T03:16:22.842" v="4457" actId="478"/>
          <ac:spMkLst>
            <pc:docMk/>
            <pc:sldMk cId="2760015044" sldId="536"/>
            <ac:spMk id="3" creationId="{1935F7C3-BFE9-4BC7-92E6-8E23B1C58F3F}"/>
          </ac:spMkLst>
        </pc:spChg>
        <pc:spChg chg="add del mod">
          <ac:chgData name="Chhabra, Aniket" userId="598e0514-bef3-4e71-b6aa-f2edd6441cff" providerId="ADAL" clId="{3A0A5D55-ED04-41A6-8F2E-B69EB9F4FF13}" dt="2020-10-14T02:22:58.404" v="4681" actId="478"/>
          <ac:spMkLst>
            <pc:docMk/>
            <pc:sldMk cId="2760015044" sldId="536"/>
            <ac:spMk id="4" creationId="{72C68C96-80D0-4D87-B433-EFDFC07440D7}"/>
          </ac:spMkLst>
        </pc:spChg>
        <pc:spChg chg="add del mod">
          <ac:chgData name="Chhabra, Aniket" userId="598e0514-bef3-4e71-b6aa-f2edd6441cff" providerId="ADAL" clId="{3A0A5D55-ED04-41A6-8F2E-B69EB9F4FF13}" dt="2020-10-13T03:16:29.693" v="4459" actId="478"/>
          <ac:spMkLst>
            <pc:docMk/>
            <pc:sldMk cId="2760015044" sldId="536"/>
            <ac:spMk id="4" creationId="{C291F17E-12BD-4761-BC14-69EB0EC0557F}"/>
          </ac:spMkLst>
        </pc:spChg>
        <pc:spChg chg="add del">
          <ac:chgData name="Chhabra, Aniket" userId="598e0514-bef3-4e71-b6aa-f2edd6441cff" providerId="ADAL" clId="{3A0A5D55-ED04-41A6-8F2E-B69EB9F4FF13}" dt="2020-10-13T03:16:43.253" v="4488" actId="22"/>
          <ac:spMkLst>
            <pc:docMk/>
            <pc:sldMk cId="2760015044" sldId="536"/>
            <ac:spMk id="7" creationId="{1E2B0E02-059E-4870-A4DF-8157D7F59001}"/>
          </ac:spMkLst>
        </pc:spChg>
        <pc:spChg chg="add del mod">
          <ac:chgData name="Chhabra, Aniket" userId="598e0514-bef3-4e71-b6aa-f2edd6441cff" providerId="ADAL" clId="{3A0A5D55-ED04-41A6-8F2E-B69EB9F4FF13}" dt="2020-10-14T02:21:34.375" v="4666" actId="21"/>
          <ac:spMkLst>
            <pc:docMk/>
            <pc:sldMk cId="2760015044" sldId="536"/>
            <ac:spMk id="8" creationId="{440751C7-53D2-4B2D-B4B7-3866C967028F}"/>
          </ac:spMkLst>
        </pc:spChg>
        <pc:spChg chg="add mod ord modVis">
          <ac:chgData name="Chhabra, Aniket" userId="598e0514-bef3-4e71-b6aa-f2edd6441cff" providerId="ADAL" clId="{3A0A5D55-ED04-41A6-8F2E-B69EB9F4FF13}" dt="2020-10-13T03:17:00.488" v="4584" actId="6549"/>
          <ac:spMkLst>
            <pc:docMk/>
            <pc:sldMk cId="2760015044" sldId="536"/>
            <ac:spMk id="9" creationId="{C033E936-DAAF-4D52-B80E-37EB5E7A390F}"/>
          </ac:spMkLst>
        </pc:spChg>
        <pc:spChg chg="add del mod">
          <ac:chgData name="Chhabra, Aniket" userId="598e0514-bef3-4e71-b6aa-f2edd6441cff" providerId="ADAL" clId="{3A0A5D55-ED04-41A6-8F2E-B69EB9F4FF13}" dt="2020-10-15T03:46:03.577" v="4987" actId="21"/>
          <ac:spMkLst>
            <pc:docMk/>
            <pc:sldMk cId="2760015044" sldId="536"/>
            <ac:spMk id="14" creationId="{A5710241-DD74-45EE-8F4D-5DE33562337C}"/>
          </ac:spMkLst>
        </pc:spChg>
        <pc:graphicFrameChg chg="add mod ord modVis">
          <ac:chgData name="Chhabra, Aniket" userId="598e0514-bef3-4e71-b6aa-f2edd6441cff" providerId="ADAL" clId="{3A0A5D55-ED04-41A6-8F2E-B69EB9F4FF13}" dt="2020-10-13T03:16:43.245" v="4487" actId="14100"/>
          <ac:graphicFrameMkLst>
            <pc:docMk/>
            <pc:sldMk cId="2760015044" sldId="536"/>
            <ac:graphicFrameMk id="8" creationId="{98D52F7A-C4E5-4836-B1FE-465862FD8746}"/>
          </ac:graphicFrameMkLst>
        </pc:graphicFrameChg>
        <pc:graphicFrameChg chg="add mod ord modVis">
          <ac:chgData name="Chhabra, Aniket" userId="598e0514-bef3-4e71-b6aa-f2edd6441cff" providerId="ADAL" clId="{3A0A5D55-ED04-41A6-8F2E-B69EB9F4FF13}" dt="2020-10-13T03:23:55.501" v="4647"/>
          <ac:graphicFrameMkLst>
            <pc:docMk/>
            <pc:sldMk cId="2760015044" sldId="536"/>
            <ac:graphicFrameMk id="10" creationId="{FD2B9F43-4F25-4129-88E8-2922D195DD62}"/>
          </ac:graphicFrameMkLst>
        </pc:graphicFrameChg>
        <pc:picChg chg="add del mod">
          <ac:chgData name="Chhabra, Aniket" userId="598e0514-bef3-4e71-b6aa-f2edd6441cff" providerId="ADAL" clId="{3A0A5D55-ED04-41A6-8F2E-B69EB9F4FF13}" dt="2020-10-14T02:21:34.375" v="4666" actId="21"/>
          <ac:picMkLst>
            <pc:docMk/>
            <pc:sldMk cId="2760015044" sldId="536"/>
            <ac:picMk id="3" creationId="{E32EF0F7-BCE4-44CD-B74C-340019A6252E}"/>
          </ac:picMkLst>
        </pc:picChg>
        <pc:picChg chg="add mod ord">
          <ac:chgData name="Chhabra, Aniket" userId="598e0514-bef3-4e71-b6aa-f2edd6441cff" providerId="ADAL" clId="{3A0A5D55-ED04-41A6-8F2E-B69EB9F4FF13}" dt="2020-10-15T03:46:33.232" v="4992" actId="1076"/>
          <ac:picMkLst>
            <pc:docMk/>
            <pc:sldMk cId="2760015044" sldId="536"/>
            <ac:picMk id="5" creationId="{B32E2238-DECB-41B8-B249-85AD46D8C9FA}"/>
          </ac:picMkLst>
        </pc:picChg>
        <pc:picChg chg="add mod">
          <ac:chgData name="Chhabra, Aniket" userId="598e0514-bef3-4e71-b6aa-f2edd6441cff" providerId="ADAL" clId="{3A0A5D55-ED04-41A6-8F2E-B69EB9F4FF13}" dt="2020-10-15T03:46:35.090" v="4993" actId="1076"/>
          <ac:picMkLst>
            <pc:docMk/>
            <pc:sldMk cId="2760015044" sldId="536"/>
            <ac:picMk id="11" creationId="{B2DF0187-5543-4A3B-BE9E-FA74A01550DC}"/>
          </ac:picMkLst>
        </pc:picChg>
        <pc:picChg chg="add del mod">
          <ac:chgData name="Chhabra, Aniket" userId="598e0514-bef3-4e71-b6aa-f2edd6441cff" providerId="ADAL" clId="{3A0A5D55-ED04-41A6-8F2E-B69EB9F4FF13}" dt="2020-10-14T02:21:34.375" v="4666" actId="21"/>
          <ac:picMkLst>
            <pc:docMk/>
            <pc:sldMk cId="2760015044" sldId="536"/>
            <ac:picMk id="11" creationId="{E44BE531-3C28-4771-894E-677D23C2C6B0}"/>
          </ac:picMkLst>
        </pc:picChg>
        <pc:picChg chg="add del mod">
          <ac:chgData name="Chhabra, Aniket" userId="598e0514-bef3-4e71-b6aa-f2edd6441cff" providerId="ADAL" clId="{3A0A5D55-ED04-41A6-8F2E-B69EB9F4FF13}" dt="2020-10-15T03:46:03.577" v="4987" actId="21"/>
          <ac:picMkLst>
            <pc:docMk/>
            <pc:sldMk cId="2760015044" sldId="536"/>
            <ac:picMk id="12" creationId="{987A956A-2026-416B-B29C-557B8C7E39AB}"/>
          </ac:picMkLst>
        </pc:picChg>
        <pc:picChg chg="add del mod">
          <ac:chgData name="Chhabra, Aniket" userId="598e0514-bef3-4e71-b6aa-f2edd6441cff" providerId="ADAL" clId="{3A0A5D55-ED04-41A6-8F2E-B69EB9F4FF13}" dt="2020-10-15T03:46:03.577" v="4987" actId="21"/>
          <ac:picMkLst>
            <pc:docMk/>
            <pc:sldMk cId="2760015044" sldId="536"/>
            <ac:picMk id="13" creationId="{DA62E19E-BA0A-42E1-AD5B-FD520FB2061D}"/>
          </ac:picMkLst>
        </pc:picChg>
      </pc:sldChg>
      <pc:sldChg chg="addSp delSp modSp new add mod">
        <pc:chgData name="Chhabra, Aniket" userId="598e0514-bef3-4e71-b6aa-f2edd6441cff" providerId="ADAL" clId="{3A0A5D55-ED04-41A6-8F2E-B69EB9F4FF13}" dt="2020-10-14T02:22:46.949" v="4677" actId="478"/>
        <pc:sldMkLst>
          <pc:docMk/>
          <pc:sldMk cId="167015323" sldId="537"/>
        </pc:sldMkLst>
        <pc:picChg chg="add del mod">
          <ac:chgData name="Chhabra, Aniket" userId="598e0514-bef3-4e71-b6aa-f2edd6441cff" providerId="ADAL" clId="{3A0A5D55-ED04-41A6-8F2E-B69EB9F4FF13}" dt="2020-10-14T02:22:46.949" v="4677" actId="478"/>
          <ac:picMkLst>
            <pc:docMk/>
            <pc:sldMk cId="167015323" sldId="537"/>
            <ac:picMk id="4" creationId="{5A45AA85-0E4F-4B56-A6ED-27072A0C302B}"/>
          </ac:picMkLst>
        </pc:picChg>
        <pc:picChg chg="add del">
          <ac:chgData name="Chhabra, Aniket" userId="598e0514-bef3-4e71-b6aa-f2edd6441cff" providerId="ADAL" clId="{3A0A5D55-ED04-41A6-8F2E-B69EB9F4FF13}" dt="2020-10-14T02:21:02.447" v="4656"/>
          <ac:picMkLst>
            <pc:docMk/>
            <pc:sldMk cId="167015323" sldId="537"/>
            <ac:picMk id="5" creationId="{EAFE9865-4840-4FD1-A171-6D752E72A602}"/>
          </ac:picMkLst>
        </pc:picChg>
      </pc:sldChg>
      <pc:sldChg chg="modSp new add mod">
        <pc:chgData name="Chhabra, Aniket" userId="598e0514-bef3-4e71-b6aa-f2edd6441cff" providerId="ADAL" clId="{3A0A5D55-ED04-41A6-8F2E-B69EB9F4FF13}" dt="2020-10-14T04:07:56.779" v="4853" actId="20577"/>
        <pc:sldMkLst>
          <pc:docMk/>
          <pc:sldMk cId="570513083" sldId="538"/>
        </pc:sldMkLst>
        <pc:spChg chg="mod">
          <ac:chgData name="Chhabra, Aniket" userId="598e0514-bef3-4e71-b6aa-f2edd6441cff" providerId="ADAL" clId="{3A0A5D55-ED04-41A6-8F2E-B69EB9F4FF13}" dt="2020-10-14T04:07:56.779" v="4853" actId="20577"/>
          <ac:spMkLst>
            <pc:docMk/>
            <pc:sldMk cId="570513083" sldId="538"/>
            <ac:spMk id="3" creationId="{47B3FE8B-F3BC-4617-A2DA-278B114DC1DB}"/>
          </ac:spMkLst>
        </pc:spChg>
      </pc:sldChg>
      <pc:sldChg chg="addSp delSp modSp new add mod">
        <pc:chgData name="Chhabra, Aniket" userId="598e0514-bef3-4e71-b6aa-f2edd6441cff" providerId="ADAL" clId="{3A0A5D55-ED04-41A6-8F2E-B69EB9F4FF13}" dt="2020-10-15T04:19:15.454" v="5789" actId="1035"/>
        <pc:sldMkLst>
          <pc:docMk/>
          <pc:sldMk cId="911517098" sldId="539"/>
        </pc:sldMkLst>
        <pc:spChg chg="mod ord">
          <ac:chgData name="Chhabra, Aniket" userId="598e0514-bef3-4e71-b6aa-f2edd6441cff" providerId="ADAL" clId="{3A0A5D55-ED04-41A6-8F2E-B69EB9F4FF13}" dt="2020-10-15T03:46:49.453" v="5000" actId="14100"/>
          <ac:spMkLst>
            <pc:docMk/>
            <pc:sldMk cId="911517098" sldId="539"/>
            <ac:spMk id="2" creationId="{A4D5DDBC-5D6A-4DB0-B385-6A92298F605F}"/>
          </ac:spMkLst>
        </pc:spChg>
        <pc:spChg chg="del mod ord">
          <ac:chgData name="Chhabra, Aniket" userId="598e0514-bef3-4e71-b6aa-f2edd6441cff" providerId="ADAL" clId="{3A0A5D55-ED04-41A6-8F2E-B69EB9F4FF13}" dt="2020-10-15T03:43:04.439" v="4986" actId="478"/>
          <ac:spMkLst>
            <pc:docMk/>
            <pc:sldMk cId="911517098" sldId="539"/>
            <ac:spMk id="3" creationId="{0EADC044-3E39-4A41-AF57-191D9067462D}"/>
          </ac:spMkLst>
        </pc:spChg>
        <pc:spChg chg="add mod ord modVis">
          <ac:chgData name="Chhabra, Aniket" userId="598e0514-bef3-4e71-b6aa-f2edd6441cff" providerId="ADAL" clId="{3A0A5D55-ED04-41A6-8F2E-B69EB9F4FF13}" dt="2020-10-15T03:42:43.386" v="4935"/>
          <ac:spMkLst>
            <pc:docMk/>
            <pc:sldMk cId="911517098" sldId="539"/>
            <ac:spMk id="4" creationId="{22F22FCF-EC63-4134-BFDA-9E6033E820A6}"/>
          </ac:spMkLst>
        </pc:spChg>
        <pc:spChg chg="add mod">
          <ac:chgData name="Chhabra, Aniket" userId="598e0514-bef3-4e71-b6aa-f2edd6441cff" providerId="ADAL" clId="{3A0A5D55-ED04-41A6-8F2E-B69EB9F4FF13}" dt="2020-10-15T03:47:06.570" v="5025" actId="1036"/>
          <ac:spMkLst>
            <pc:docMk/>
            <pc:sldMk cId="911517098" sldId="539"/>
            <ac:spMk id="8" creationId="{F641CF9B-E72B-4F85-A7FE-1D68C9685232}"/>
          </ac:spMkLst>
        </pc:spChg>
        <pc:spChg chg="add mod">
          <ac:chgData name="Chhabra, Aniket" userId="598e0514-bef3-4e71-b6aa-f2edd6441cff" providerId="ADAL" clId="{3A0A5D55-ED04-41A6-8F2E-B69EB9F4FF13}" dt="2020-10-15T04:19:15.454" v="5789" actId="1035"/>
          <ac:spMkLst>
            <pc:docMk/>
            <pc:sldMk cId="911517098" sldId="539"/>
            <ac:spMk id="9" creationId="{A385B7C1-FB07-42E5-84E2-C1DE4ED3FFB4}"/>
          </ac:spMkLst>
        </pc:spChg>
        <pc:spChg chg="add mod">
          <ac:chgData name="Chhabra, Aniket" userId="598e0514-bef3-4e71-b6aa-f2edd6441cff" providerId="ADAL" clId="{3A0A5D55-ED04-41A6-8F2E-B69EB9F4FF13}" dt="2020-10-15T04:04:43.449" v="5717" actId="14100"/>
          <ac:spMkLst>
            <pc:docMk/>
            <pc:sldMk cId="911517098" sldId="539"/>
            <ac:spMk id="10" creationId="{091B0AC4-7441-467F-AE1A-1E82D87AD10F}"/>
          </ac:spMkLst>
        </pc:spChg>
        <pc:graphicFrameChg chg="add mod ord modVis">
          <ac:chgData name="Chhabra, Aniket" userId="598e0514-bef3-4e71-b6aa-f2edd6441cff" providerId="ADAL" clId="{3A0A5D55-ED04-41A6-8F2E-B69EB9F4FF13}" dt="2020-10-15T03:46:49.954" v="5002"/>
          <ac:graphicFrameMkLst>
            <pc:docMk/>
            <pc:sldMk cId="911517098" sldId="539"/>
            <ac:graphicFrameMk id="5" creationId="{40E70D21-FE27-4429-A74F-221226F5697C}"/>
          </ac:graphicFrameMkLst>
        </pc:graphicFrameChg>
        <pc:picChg chg="add mod">
          <ac:chgData name="Chhabra, Aniket" userId="598e0514-bef3-4e71-b6aa-f2edd6441cff" providerId="ADAL" clId="{3A0A5D55-ED04-41A6-8F2E-B69EB9F4FF13}" dt="2020-10-15T03:47:06.570" v="5025" actId="1036"/>
          <ac:picMkLst>
            <pc:docMk/>
            <pc:sldMk cId="911517098" sldId="539"/>
            <ac:picMk id="6" creationId="{F29438AB-3F7F-4380-9D91-B03C68CB6218}"/>
          </ac:picMkLst>
        </pc:picChg>
        <pc:picChg chg="add mod">
          <ac:chgData name="Chhabra, Aniket" userId="598e0514-bef3-4e71-b6aa-f2edd6441cff" providerId="ADAL" clId="{3A0A5D55-ED04-41A6-8F2E-B69EB9F4FF13}" dt="2020-10-15T03:47:06.570" v="5025" actId="1036"/>
          <ac:picMkLst>
            <pc:docMk/>
            <pc:sldMk cId="911517098" sldId="539"/>
            <ac:picMk id="7" creationId="{D2815386-682D-4D5C-9C9E-3424E018BA20}"/>
          </ac:picMkLst>
        </pc:picChg>
      </pc:sldChg>
      <pc:sldChg chg="addSp delSp modSp add mod modNotesTx">
        <pc:chgData name="Chhabra, Aniket" userId="598e0514-bef3-4e71-b6aa-f2edd6441cff" providerId="ADAL" clId="{3A0A5D55-ED04-41A6-8F2E-B69EB9F4FF13}" dt="2020-10-15T04:34:25.527" v="6269" actId="20577"/>
        <pc:sldMkLst>
          <pc:docMk/>
          <pc:sldMk cId="3273904905" sldId="540"/>
        </pc:sldMkLst>
        <pc:spChg chg="mod">
          <ac:chgData name="Chhabra, Aniket" userId="598e0514-bef3-4e71-b6aa-f2edd6441cff" providerId="ADAL" clId="{3A0A5D55-ED04-41A6-8F2E-B69EB9F4FF13}" dt="2020-10-15T04:06:27.026" v="5764" actId="20577"/>
          <ac:spMkLst>
            <pc:docMk/>
            <pc:sldMk cId="3273904905" sldId="540"/>
            <ac:spMk id="2" creationId="{A4D5DDBC-5D6A-4DB0-B385-6A92298F605F}"/>
          </ac:spMkLst>
        </pc:spChg>
        <pc:spChg chg="mod">
          <ac:chgData name="Chhabra, Aniket" userId="598e0514-bef3-4e71-b6aa-f2edd6441cff" providerId="ADAL" clId="{3A0A5D55-ED04-41A6-8F2E-B69EB9F4FF13}" dt="2020-10-15T04:06:23.875" v="5744" actId="6549"/>
          <ac:spMkLst>
            <pc:docMk/>
            <pc:sldMk cId="3273904905" sldId="540"/>
            <ac:spMk id="4" creationId="{22F22FCF-EC63-4134-BFDA-9E6033E820A6}"/>
          </ac:spMkLst>
        </pc:spChg>
        <pc:spChg chg="del">
          <ac:chgData name="Chhabra, Aniket" userId="598e0514-bef3-4e71-b6aa-f2edd6441cff" providerId="ADAL" clId="{3A0A5D55-ED04-41A6-8F2E-B69EB9F4FF13}" dt="2020-10-15T04:06:33.811" v="5768" actId="478"/>
          <ac:spMkLst>
            <pc:docMk/>
            <pc:sldMk cId="3273904905" sldId="540"/>
            <ac:spMk id="8" creationId="{F641CF9B-E72B-4F85-A7FE-1D68C9685232}"/>
          </ac:spMkLst>
        </pc:spChg>
        <pc:spChg chg="mod">
          <ac:chgData name="Chhabra, Aniket" userId="598e0514-bef3-4e71-b6aa-f2edd6441cff" providerId="ADAL" clId="{3A0A5D55-ED04-41A6-8F2E-B69EB9F4FF13}" dt="2020-10-15T04:32:32.398" v="6165" actId="14100"/>
          <ac:spMkLst>
            <pc:docMk/>
            <pc:sldMk cId="3273904905" sldId="540"/>
            <ac:spMk id="9" creationId="{A385B7C1-FB07-42E5-84E2-C1DE4ED3FFB4}"/>
          </ac:spMkLst>
        </pc:spChg>
        <pc:spChg chg="add del">
          <ac:chgData name="Chhabra, Aniket" userId="598e0514-bef3-4e71-b6aa-f2edd6441cff" providerId="ADAL" clId="{3A0A5D55-ED04-41A6-8F2E-B69EB9F4FF13}" dt="2020-10-15T04:06:52.679" v="5779" actId="478"/>
          <ac:spMkLst>
            <pc:docMk/>
            <pc:sldMk cId="3273904905" sldId="540"/>
            <ac:spMk id="10" creationId="{091B0AC4-7441-467F-AE1A-1E82D87AD10F}"/>
          </ac:spMkLst>
        </pc:spChg>
        <pc:graphicFrameChg chg="mod">
          <ac:chgData name="Chhabra, Aniket" userId="598e0514-bef3-4e71-b6aa-f2edd6441cff" providerId="ADAL" clId="{3A0A5D55-ED04-41A6-8F2E-B69EB9F4FF13}" dt="2020-10-15T04:06:27.529" v="5766"/>
          <ac:graphicFrameMkLst>
            <pc:docMk/>
            <pc:sldMk cId="3273904905" sldId="540"/>
            <ac:graphicFrameMk id="5" creationId="{40E70D21-FE27-4429-A74F-221226F5697C}"/>
          </ac:graphicFrameMkLst>
        </pc:graphicFrameChg>
        <pc:picChg chg="del">
          <ac:chgData name="Chhabra, Aniket" userId="598e0514-bef3-4e71-b6aa-f2edd6441cff" providerId="ADAL" clId="{3A0A5D55-ED04-41A6-8F2E-B69EB9F4FF13}" dt="2020-10-15T04:06:30.071" v="5767" actId="478"/>
          <ac:picMkLst>
            <pc:docMk/>
            <pc:sldMk cId="3273904905" sldId="540"/>
            <ac:picMk id="6" creationId="{F29438AB-3F7F-4380-9D91-B03C68CB6218}"/>
          </ac:picMkLst>
        </pc:picChg>
        <pc:picChg chg="del">
          <ac:chgData name="Chhabra, Aniket" userId="598e0514-bef3-4e71-b6aa-f2edd6441cff" providerId="ADAL" clId="{3A0A5D55-ED04-41A6-8F2E-B69EB9F4FF13}" dt="2020-10-15T04:06:33.811" v="5768" actId="478"/>
          <ac:picMkLst>
            <pc:docMk/>
            <pc:sldMk cId="3273904905" sldId="540"/>
            <ac:picMk id="7" creationId="{D2815386-682D-4D5C-9C9E-3424E018BA20}"/>
          </ac:picMkLst>
        </pc:picChg>
      </pc:sldChg>
      <pc:sldChg chg="addSp delSp modSp new add mod">
        <pc:chgData name="Chhabra, Aniket" userId="598e0514-bef3-4e71-b6aa-f2edd6441cff" providerId="ADAL" clId="{3A0A5D55-ED04-41A6-8F2E-B69EB9F4FF13}" dt="2020-10-15T04:35:15.705" v="6277" actId="14100"/>
        <pc:sldMkLst>
          <pc:docMk/>
          <pc:sldMk cId="3950318431" sldId="541"/>
        </pc:sldMkLst>
        <pc:spChg chg="mod ord">
          <ac:chgData name="Chhabra, Aniket" userId="598e0514-bef3-4e71-b6aa-f2edd6441cff" providerId="ADAL" clId="{3A0A5D55-ED04-41A6-8F2E-B69EB9F4FF13}" dt="2020-10-15T04:33:02.529" v="6251" actId="403"/>
          <ac:spMkLst>
            <pc:docMk/>
            <pc:sldMk cId="3950318431" sldId="541"/>
            <ac:spMk id="2" creationId="{10B74324-4B4E-47F9-9DEA-035ECA45D77E}"/>
          </ac:spMkLst>
        </pc:spChg>
        <pc:spChg chg="del mod ord">
          <ac:chgData name="Chhabra, Aniket" userId="598e0514-bef3-4e71-b6aa-f2edd6441cff" providerId="ADAL" clId="{3A0A5D55-ED04-41A6-8F2E-B69EB9F4FF13}" dt="2020-10-15T04:33:05.863" v="6267" actId="478"/>
          <ac:spMkLst>
            <pc:docMk/>
            <pc:sldMk cId="3950318431" sldId="541"/>
            <ac:spMk id="3" creationId="{F7FD3524-33CB-42A3-8759-5003C796AD2F}"/>
          </ac:spMkLst>
        </pc:spChg>
        <pc:spChg chg="add mod ord modVis">
          <ac:chgData name="Chhabra, Aniket" userId="598e0514-bef3-4e71-b6aa-f2edd6441cff" providerId="ADAL" clId="{3A0A5D55-ED04-41A6-8F2E-B69EB9F4FF13}" dt="2020-10-15T04:33:03.075" v="6262" actId="6549"/>
          <ac:spMkLst>
            <pc:docMk/>
            <pc:sldMk cId="3950318431" sldId="541"/>
            <ac:spMk id="4" creationId="{633CB69D-7897-43A6-9BD4-98D9B668907B}"/>
          </ac:spMkLst>
        </pc:spChg>
        <pc:graphicFrameChg chg="add mod ord modVis">
          <ac:chgData name="Chhabra, Aniket" userId="598e0514-bef3-4e71-b6aa-f2edd6441cff" providerId="ADAL" clId="{3A0A5D55-ED04-41A6-8F2E-B69EB9F4FF13}" dt="2020-10-15T04:33:03.083" v="6264"/>
          <ac:graphicFrameMkLst>
            <pc:docMk/>
            <pc:sldMk cId="3950318431" sldId="541"/>
            <ac:graphicFrameMk id="5" creationId="{57FD2C9D-36B9-4138-BB26-4A9B6F57D293}"/>
          </ac:graphicFrameMkLst>
        </pc:graphicFrameChg>
        <pc:picChg chg="add mod">
          <ac:chgData name="Chhabra, Aniket" userId="598e0514-bef3-4e71-b6aa-f2edd6441cff" providerId="ADAL" clId="{3A0A5D55-ED04-41A6-8F2E-B69EB9F4FF13}" dt="2020-10-15T04:35:15.705" v="6277" actId="14100"/>
          <ac:picMkLst>
            <pc:docMk/>
            <pc:sldMk cId="3950318431" sldId="541"/>
            <ac:picMk id="6" creationId="{C2887707-2B5C-4796-9C71-D8C05D7A1675}"/>
          </ac:picMkLst>
        </pc:picChg>
      </pc:sldChg>
      <pc:sldChg chg="addSp delSp modSp add mod">
        <pc:chgData name="Chhabra, Aniket" userId="598e0514-bef3-4e71-b6aa-f2edd6441cff" providerId="ADAL" clId="{3A0A5D55-ED04-41A6-8F2E-B69EB9F4FF13}" dt="2020-10-16T20:05:41.248" v="6769"/>
        <pc:sldMkLst>
          <pc:docMk/>
          <pc:sldMk cId="142225016" sldId="542"/>
        </pc:sldMkLst>
        <pc:spChg chg="mod">
          <ac:chgData name="Chhabra, Aniket" userId="598e0514-bef3-4e71-b6aa-f2edd6441cff" providerId="ADAL" clId="{3A0A5D55-ED04-41A6-8F2E-B69EB9F4FF13}" dt="2020-10-16T20:05:40.745" v="6767" actId="20577"/>
          <ac:spMkLst>
            <pc:docMk/>
            <pc:sldMk cId="142225016" sldId="542"/>
            <ac:spMk id="2" creationId="{10B74324-4B4E-47F9-9DEA-035ECA45D77E}"/>
          </ac:spMkLst>
        </pc:spChg>
        <pc:spChg chg="mod">
          <ac:chgData name="Chhabra, Aniket" userId="598e0514-bef3-4e71-b6aa-f2edd6441cff" providerId="ADAL" clId="{3A0A5D55-ED04-41A6-8F2E-B69EB9F4FF13}" dt="2020-10-16T20:05:38.677" v="6756" actId="6549"/>
          <ac:spMkLst>
            <pc:docMk/>
            <pc:sldMk cId="142225016" sldId="542"/>
            <ac:spMk id="4" creationId="{633CB69D-7897-43A6-9BD4-98D9B668907B}"/>
          </ac:spMkLst>
        </pc:spChg>
        <pc:spChg chg="add mod">
          <ac:chgData name="Chhabra, Aniket" userId="598e0514-bef3-4e71-b6aa-f2edd6441cff" providerId="ADAL" clId="{3A0A5D55-ED04-41A6-8F2E-B69EB9F4FF13}" dt="2020-10-16T20:05:31.898" v="6718" actId="6549"/>
          <ac:spMkLst>
            <pc:docMk/>
            <pc:sldMk cId="142225016" sldId="542"/>
            <ac:spMk id="8" creationId="{44265914-F9AB-4CD3-9C99-887EB92F44E4}"/>
          </ac:spMkLst>
        </pc:spChg>
        <pc:spChg chg="add mod">
          <ac:chgData name="Chhabra, Aniket" userId="598e0514-bef3-4e71-b6aa-f2edd6441cff" providerId="ADAL" clId="{3A0A5D55-ED04-41A6-8F2E-B69EB9F4FF13}" dt="2020-10-15T05:15:53.504" v="6598" actId="20577"/>
          <ac:spMkLst>
            <pc:docMk/>
            <pc:sldMk cId="142225016" sldId="542"/>
            <ac:spMk id="9" creationId="{A998AC9F-010B-4F16-A02F-64FEDECDA281}"/>
          </ac:spMkLst>
        </pc:spChg>
        <pc:graphicFrameChg chg="mod">
          <ac:chgData name="Chhabra, Aniket" userId="598e0514-bef3-4e71-b6aa-f2edd6441cff" providerId="ADAL" clId="{3A0A5D55-ED04-41A6-8F2E-B69EB9F4FF13}" dt="2020-10-16T20:05:41.248" v="6769"/>
          <ac:graphicFrameMkLst>
            <pc:docMk/>
            <pc:sldMk cId="142225016" sldId="542"/>
            <ac:graphicFrameMk id="5" creationId="{57FD2C9D-36B9-4138-BB26-4A9B6F57D293}"/>
          </ac:graphicFrameMkLst>
        </pc:graphicFrameChg>
        <pc:picChg chg="add mod">
          <ac:chgData name="Chhabra, Aniket" userId="598e0514-bef3-4e71-b6aa-f2edd6441cff" providerId="ADAL" clId="{3A0A5D55-ED04-41A6-8F2E-B69EB9F4FF13}" dt="2020-10-16T20:04:10.882" v="6632" actId="1076"/>
          <ac:picMkLst>
            <pc:docMk/>
            <pc:sldMk cId="142225016" sldId="542"/>
            <ac:picMk id="3" creationId="{F1B18ACC-BB0B-4080-B753-F990B68422CF}"/>
          </ac:picMkLst>
        </pc:picChg>
        <pc:picChg chg="del">
          <ac:chgData name="Chhabra, Aniket" userId="598e0514-bef3-4e71-b6aa-f2edd6441cff" providerId="ADAL" clId="{3A0A5D55-ED04-41A6-8F2E-B69EB9F4FF13}" dt="2020-10-15T04:37:12.114" v="6279" actId="478"/>
          <ac:picMkLst>
            <pc:docMk/>
            <pc:sldMk cId="142225016" sldId="542"/>
            <ac:picMk id="6" creationId="{C2887707-2B5C-4796-9C71-D8C05D7A1675}"/>
          </ac:picMkLst>
        </pc:picChg>
      </pc:sldChg>
      <pc:sldChg chg="new add del">
        <pc:chgData name="Chhabra, Aniket" userId="598e0514-bef3-4e71-b6aa-f2edd6441cff" providerId="ADAL" clId="{3A0A5D55-ED04-41A6-8F2E-B69EB9F4FF13}" dt="2020-10-15T05:03:52.878" v="6382" actId="47"/>
        <pc:sldMkLst>
          <pc:docMk/>
          <pc:sldMk cId="967331072" sldId="543"/>
        </pc:sldMkLst>
      </pc:sldChg>
      <pc:sldChg chg="addSp delSp modSp add mod ord">
        <pc:chgData name="Chhabra, Aniket" userId="598e0514-bef3-4e71-b6aa-f2edd6441cff" providerId="ADAL" clId="{3A0A5D55-ED04-41A6-8F2E-B69EB9F4FF13}" dt="2020-10-17T19:12:36.042" v="8419" actId="20577"/>
        <pc:sldMkLst>
          <pc:docMk/>
          <pc:sldMk cId="2697153999" sldId="544"/>
        </pc:sldMkLst>
        <pc:spChg chg="mod">
          <ac:chgData name="Chhabra, Aniket" userId="598e0514-bef3-4e71-b6aa-f2edd6441cff" providerId="ADAL" clId="{3A0A5D55-ED04-41A6-8F2E-B69EB9F4FF13}" dt="2020-10-16T20:05:48.131" v="6771"/>
          <ac:spMkLst>
            <pc:docMk/>
            <pc:sldMk cId="2697153999" sldId="544"/>
            <ac:spMk id="2" creationId="{10B74324-4B4E-47F9-9DEA-035ECA45D77E}"/>
          </ac:spMkLst>
        </pc:spChg>
        <pc:spChg chg="mod">
          <ac:chgData name="Chhabra, Aniket" userId="598e0514-bef3-4e71-b6aa-f2edd6441cff" providerId="ADAL" clId="{3A0A5D55-ED04-41A6-8F2E-B69EB9F4FF13}" dt="2020-10-16T20:05:48.701" v="6792" actId="6549"/>
          <ac:spMkLst>
            <pc:docMk/>
            <pc:sldMk cId="2697153999" sldId="544"/>
            <ac:spMk id="4" creationId="{633CB69D-7897-43A6-9BD4-98D9B668907B}"/>
          </ac:spMkLst>
        </pc:spChg>
        <pc:spChg chg="mod">
          <ac:chgData name="Chhabra, Aniket" userId="598e0514-bef3-4e71-b6aa-f2edd6441cff" providerId="ADAL" clId="{3A0A5D55-ED04-41A6-8F2E-B69EB9F4FF13}" dt="2020-10-17T19:12:36.042" v="8419" actId="20577"/>
          <ac:spMkLst>
            <pc:docMk/>
            <pc:sldMk cId="2697153999" sldId="544"/>
            <ac:spMk id="8" creationId="{44265914-F9AB-4CD3-9C99-887EB92F44E4}"/>
          </ac:spMkLst>
        </pc:spChg>
        <pc:spChg chg="add del">
          <ac:chgData name="Chhabra, Aniket" userId="598e0514-bef3-4e71-b6aa-f2edd6441cff" providerId="ADAL" clId="{3A0A5D55-ED04-41A6-8F2E-B69EB9F4FF13}" dt="2020-10-15T05:04:20.568" v="6392" actId="478"/>
          <ac:spMkLst>
            <pc:docMk/>
            <pc:sldMk cId="2697153999" sldId="544"/>
            <ac:spMk id="9" creationId="{A998AC9F-010B-4F16-A02F-64FEDECDA281}"/>
          </ac:spMkLst>
        </pc:spChg>
        <pc:graphicFrameChg chg="mod">
          <ac:chgData name="Chhabra, Aniket" userId="598e0514-bef3-4e71-b6aa-f2edd6441cff" providerId="ADAL" clId="{3A0A5D55-ED04-41A6-8F2E-B69EB9F4FF13}" dt="2020-10-16T20:05:48.710" v="6794"/>
          <ac:graphicFrameMkLst>
            <pc:docMk/>
            <pc:sldMk cId="2697153999" sldId="544"/>
            <ac:graphicFrameMk id="5" creationId="{57FD2C9D-36B9-4138-BB26-4A9B6F57D293}"/>
          </ac:graphicFrameMkLst>
        </pc:graphicFrameChg>
        <pc:graphicFrameChg chg="add del mod">
          <ac:chgData name="Chhabra, Aniket" userId="598e0514-bef3-4e71-b6aa-f2edd6441cff" providerId="ADAL" clId="{3A0A5D55-ED04-41A6-8F2E-B69EB9F4FF13}" dt="2020-10-17T18:37:37.198" v="7924"/>
          <ac:graphicFrameMkLst>
            <pc:docMk/>
            <pc:sldMk cId="2697153999" sldId="544"/>
            <ac:graphicFrameMk id="7" creationId="{62AEB1E8-1F0C-43CB-9D4B-2303050602D2}"/>
          </ac:graphicFrameMkLst>
        </pc:graphicFrameChg>
        <pc:picChg chg="add mod">
          <ac:chgData name="Chhabra, Aniket" userId="598e0514-bef3-4e71-b6aa-f2edd6441cff" providerId="ADAL" clId="{3A0A5D55-ED04-41A6-8F2E-B69EB9F4FF13}" dt="2020-10-17T19:02:43.546" v="8300" actId="1076"/>
          <ac:picMkLst>
            <pc:docMk/>
            <pc:sldMk cId="2697153999" sldId="544"/>
            <ac:picMk id="3" creationId="{C2D97341-F8E9-49F1-8447-41E911D90040}"/>
          </ac:picMkLst>
        </pc:picChg>
        <pc:picChg chg="del">
          <ac:chgData name="Chhabra, Aniket" userId="598e0514-bef3-4e71-b6aa-f2edd6441cff" providerId="ADAL" clId="{3A0A5D55-ED04-41A6-8F2E-B69EB9F4FF13}" dt="2020-10-15T05:04:07.069" v="6386" actId="478"/>
          <ac:picMkLst>
            <pc:docMk/>
            <pc:sldMk cId="2697153999" sldId="544"/>
            <ac:picMk id="3" creationId="{F1B18ACC-BB0B-4080-B753-F990B68422CF}"/>
          </ac:picMkLst>
        </pc:picChg>
        <pc:picChg chg="add del mod">
          <ac:chgData name="Chhabra, Aniket" userId="598e0514-bef3-4e71-b6aa-f2edd6441cff" providerId="ADAL" clId="{3A0A5D55-ED04-41A6-8F2E-B69EB9F4FF13}" dt="2020-10-17T18:37:22.745" v="7922" actId="478"/>
          <ac:picMkLst>
            <pc:docMk/>
            <pc:sldMk cId="2697153999" sldId="544"/>
            <ac:picMk id="6" creationId="{E42EFFEB-71B6-4330-9937-DF3295207624}"/>
          </ac:picMkLst>
        </pc:picChg>
      </pc:sldChg>
      <pc:sldChg chg="addSp new add">
        <pc:chgData name="Chhabra, Aniket" userId="598e0514-bef3-4e71-b6aa-f2edd6441cff" providerId="ADAL" clId="{3A0A5D55-ED04-41A6-8F2E-B69EB9F4FF13}" dt="2020-10-16T21:06:31.468" v="7797"/>
        <pc:sldMkLst>
          <pc:docMk/>
          <pc:sldMk cId="984393314" sldId="545"/>
        </pc:sldMkLst>
        <pc:picChg chg="add">
          <ac:chgData name="Chhabra, Aniket" userId="598e0514-bef3-4e71-b6aa-f2edd6441cff" providerId="ADAL" clId="{3A0A5D55-ED04-41A6-8F2E-B69EB9F4FF13}" dt="2020-10-16T21:06:31.468" v="7797"/>
          <ac:picMkLst>
            <pc:docMk/>
            <pc:sldMk cId="984393314" sldId="545"/>
            <ac:picMk id="4" creationId="{72EE6B53-70D6-4B8E-A562-556B33C04C99}"/>
          </ac:picMkLst>
        </pc:picChg>
      </pc:sldChg>
      <pc:sldChg chg="addSp delSp modSp add mod modNotesTx">
        <pc:chgData name="Chhabra, Aniket" userId="598e0514-bef3-4e71-b6aa-f2edd6441cff" providerId="ADAL" clId="{3A0A5D55-ED04-41A6-8F2E-B69EB9F4FF13}" dt="2020-10-17T19:34:53.907" v="8462" actId="20577"/>
        <pc:sldMkLst>
          <pc:docMk/>
          <pc:sldMk cId="3841458626" sldId="546"/>
        </pc:sldMkLst>
        <pc:spChg chg="mod">
          <ac:chgData name="Chhabra, Aniket" userId="598e0514-bef3-4e71-b6aa-f2edd6441cff" providerId="ADAL" clId="{3A0A5D55-ED04-41A6-8F2E-B69EB9F4FF13}" dt="2020-10-16T20:49:37.462" v="7703" actId="20577"/>
          <ac:spMkLst>
            <pc:docMk/>
            <pc:sldMk cId="3841458626" sldId="546"/>
            <ac:spMk id="2" creationId="{10B74324-4B4E-47F9-9DEA-035ECA45D77E}"/>
          </ac:spMkLst>
        </pc:spChg>
        <pc:spChg chg="mod">
          <ac:chgData name="Chhabra, Aniket" userId="598e0514-bef3-4e71-b6aa-f2edd6441cff" providerId="ADAL" clId="{3A0A5D55-ED04-41A6-8F2E-B69EB9F4FF13}" dt="2020-10-16T20:49:35.509" v="7692" actId="6549"/>
          <ac:spMkLst>
            <pc:docMk/>
            <pc:sldMk cId="3841458626" sldId="546"/>
            <ac:spMk id="4" creationId="{633CB69D-7897-43A6-9BD4-98D9B668907B}"/>
          </ac:spMkLst>
        </pc:spChg>
        <pc:spChg chg="mod">
          <ac:chgData name="Chhabra, Aniket" userId="598e0514-bef3-4e71-b6aa-f2edd6441cff" providerId="ADAL" clId="{3A0A5D55-ED04-41A6-8F2E-B69EB9F4FF13}" dt="2020-10-17T19:34:53.907" v="8462" actId="20577"/>
          <ac:spMkLst>
            <pc:docMk/>
            <pc:sldMk cId="3841458626" sldId="546"/>
            <ac:spMk id="8" creationId="{44265914-F9AB-4CD3-9C99-887EB92F44E4}"/>
          </ac:spMkLst>
        </pc:spChg>
        <pc:graphicFrameChg chg="mod">
          <ac:chgData name="Chhabra, Aniket" userId="598e0514-bef3-4e71-b6aa-f2edd6441cff" providerId="ADAL" clId="{3A0A5D55-ED04-41A6-8F2E-B69EB9F4FF13}" dt="2020-10-16T20:49:37.966" v="7705"/>
          <ac:graphicFrameMkLst>
            <pc:docMk/>
            <pc:sldMk cId="3841458626" sldId="546"/>
            <ac:graphicFrameMk id="5" creationId="{57FD2C9D-36B9-4138-BB26-4A9B6F57D293}"/>
          </ac:graphicFrameMkLst>
        </pc:graphicFrameChg>
        <pc:picChg chg="add del mod">
          <ac:chgData name="Chhabra, Aniket" userId="598e0514-bef3-4e71-b6aa-f2edd6441cff" providerId="ADAL" clId="{3A0A5D55-ED04-41A6-8F2E-B69EB9F4FF13}" dt="2020-10-16T20:13:54.893" v="7126" actId="478"/>
          <ac:picMkLst>
            <pc:docMk/>
            <pc:sldMk cId="3841458626" sldId="546"/>
            <ac:picMk id="3" creationId="{4A49D3A1-CA39-45EC-A230-31B988473ACE}"/>
          </ac:picMkLst>
        </pc:picChg>
        <pc:picChg chg="del">
          <ac:chgData name="Chhabra, Aniket" userId="598e0514-bef3-4e71-b6aa-f2edd6441cff" providerId="ADAL" clId="{3A0A5D55-ED04-41A6-8F2E-B69EB9F4FF13}" dt="2020-10-16T20:09:41.207" v="6948" actId="478"/>
          <ac:picMkLst>
            <pc:docMk/>
            <pc:sldMk cId="3841458626" sldId="546"/>
            <ac:picMk id="6" creationId="{E42EFFEB-71B6-4330-9937-DF3295207624}"/>
          </ac:picMkLst>
        </pc:picChg>
        <pc:picChg chg="add del">
          <ac:chgData name="Chhabra, Aniket" userId="598e0514-bef3-4e71-b6aa-f2edd6441cff" providerId="ADAL" clId="{3A0A5D55-ED04-41A6-8F2E-B69EB9F4FF13}" dt="2020-10-16T20:13:53.685" v="7125" actId="478"/>
          <ac:picMkLst>
            <pc:docMk/>
            <pc:sldMk cId="3841458626" sldId="546"/>
            <ac:picMk id="7" creationId="{62770ADB-CEE3-463A-93B2-3DD44B48C069}"/>
          </ac:picMkLst>
        </pc:picChg>
        <pc:picChg chg="add mod">
          <ac:chgData name="Chhabra, Aniket" userId="598e0514-bef3-4e71-b6aa-f2edd6441cff" providerId="ADAL" clId="{3A0A5D55-ED04-41A6-8F2E-B69EB9F4FF13}" dt="2020-10-17T19:20:57.793" v="8460" actId="1076"/>
          <ac:picMkLst>
            <pc:docMk/>
            <pc:sldMk cId="3841458626" sldId="546"/>
            <ac:picMk id="9" creationId="{9614500B-1DE4-4E51-913F-CE8B8AF2ABE4}"/>
          </ac:picMkLst>
        </pc:picChg>
        <pc:picChg chg="add mod">
          <ac:chgData name="Chhabra, Aniket" userId="598e0514-bef3-4e71-b6aa-f2edd6441cff" providerId="ADAL" clId="{3A0A5D55-ED04-41A6-8F2E-B69EB9F4FF13}" dt="2020-10-17T19:20:50.806" v="8457" actId="1076"/>
          <ac:picMkLst>
            <pc:docMk/>
            <pc:sldMk cId="3841458626" sldId="546"/>
            <ac:picMk id="10" creationId="{B86D4930-71F8-4DA9-A21F-32BE012294AA}"/>
          </ac:picMkLst>
        </pc:picChg>
        <pc:picChg chg="add del">
          <ac:chgData name="Chhabra, Aniket" userId="598e0514-bef3-4e71-b6aa-f2edd6441cff" providerId="ADAL" clId="{3A0A5D55-ED04-41A6-8F2E-B69EB9F4FF13}" dt="2020-10-16T21:09:40.639" v="7836"/>
          <ac:picMkLst>
            <pc:docMk/>
            <pc:sldMk cId="3841458626" sldId="546"/>
            <ac:picMk id="11" creationId="{FAA68E16-28E4-4DDF-B711-1743740409CD}"/>
          </ac:picMkLst>
        </pc:picChg>
      </pc:sldChg>
      <pc:sldChg chg="addSp delSp modSp add del mod">
        <pc:chgData name="Chhabra, Aniket" userId="598e0514-bef3-4e71-b6aa-f2edd6441cff" providerId="ADAL" clId="{3A0A5D55-ED04-41A6-8F2E-B69EB9F4FF13}" dt="2020-10-16T21:19:45.355" v="7894"/>
        <pc:sldMkLst>
          <pc:docMk/>
          <pc:sldMk cId="843361175" sldId="547"/>
        </pc:sldMkLst>
        <pc:spChg chg="mod">
          <ac:chgData name="Chhabra, Aniket" userId="598e0514-bef3-4e71-b6aa-f2edd6441cff" providerId="ADAL" clId="{3A0A5D55-ED04-41A6-8F2E-B69EB9F4FF13}" dt="2020-10-16T20:53:17.090" v="7764" actId="20577"/>
          <ac:spMkLst>
            <pc:docMk/>
            <pc:sldMk cId="843361175" sldId="547"/>
            <ac:spMk id="2" creationId="{10B74324-4B4E-47F9-9DEA-035ECA45D77E}"/>
          </ac:spMkLst>
        </pc:spChg>
        <pc:spChg chg="mod">
          <ac:chgData name="Chhabra, Aniket" userId="598e0514-bef3-4e71-b6aa-f2edd6441cff" providerId="ADAL" clId="{3A0A5D55-ED04-41A6-8F2E-B69EB9F4FF13}" dt="2020-10-16T20:53:07.714" v="7748" actId="6549"/>
          <ac:spMkLst>
            <pc:docMk/>
            <pc:sldMk cId="843361175" sldId="547"/>
            <ac:spMk id="4" creationId="{633CB69D-7897-43A6-9BD4-98D9B668907B}"/>
          </ac:spMkLst>
        </pc:spChg>
        <pc:spChg chg="mod">
          <ac:chgData name="Chhabra, Aniket" userId="598e0514-bef3-4e71-b6aa-f2edd6441cff" providerId="ADAL" clId="{3A0A5D55-ED04-41A6-8F2E-B69EB9F4FF13}" dt="2020-10-16T21:06:53.487" v="7827" actId="20577"/>
          <ac:spMkLst>
            <pc:docMk/>
            <pc:sldMk cId="843361175" sldId="547"/>
            <ac:spMk id="8" creationId="{44265914-F9AB-4CD3-9C99-887EB92F44E4}"/>
          </ac:spMkLst>
        </pc:spChg>
        <pc:graphicFrameChg chg="mod">
          <ac:chgData name="Chhabra, Aniket" userId="598e0514-bef3-4e71-b6aa-f2edd6441cff" providerId="ADAL" clId="{3A0A5D55-ED04-41A6-8F2E-B69EB9F4FF13}" dt="2020-10-16T21:19:45.355" v="7894"/>
          <ac:graphicFrameMkLst>
            <pc:docMk/>
            <pc:sldMk cId="843361175" sldId="547"/>
            <ac:graphicFrameMk id="5" creationId="{57FD2C9D-36B9-4138-BB26-4A9B6F57D293}"/>
          </ac:graphicFrameMkLst>
        </pc:graphicFrameChg>
        <pc:picChg chg="add del">
          <ac:chgData name="Chhabra, Aniket" userId="598e0514-bef3-4e71-b6aa-f2edd6441cff" providerId="ADAL" clId="{3A0A5D55-ED04-41A6-8F2E-B69EB9F4FF13}" dt="2020-10-16T21:02:15.769" v="7781" actId="478"/>
          <ac:picMkLst>
            <pc:docMk/>
            <pc:sldMk cId="843361175" sldId="547"/>
            <ac:picMk id="3" creationId="{AADBACFF-286A-43F2-AACC-BAA71BE49C40}"/>
          </ac:picMkLst>
        </pc:picChg>
        <pc:picChg chg="add mod">
          <ac:chgData name="Chhabra, Aniket" userId="598e0514-bef3-4e71-b6aa-f2edd6441cff" providerId="ADAL" clId="{3A0A5D55-ED04-41A6-8F2E-B69EB9F4FF13}" dt="2020-10-16T21:02:27.746" v="7788" actId="1076"/>
          <ac:picMkLst>
            <pc:docMk/>
            <pc:sldMk cId="843361175" sldId="547"/>
            <ac:picMk id="6" creationId="{E039D9F4-C58F-426A-9566-B1ABA1D7680C}"/>
          </ac:picMkLst>
        </pc:picChg>
        <pc:picChg chg="add del">
          <ac:chgData name="Chhabra, Aniket" userId="598e0514-bef3-4e71-b6aa-f2edd6441cff" providerId="ADAL" clId="{3A0A5D55-ED04-41A6-8F2E-B69EB9F4FF13}" dt="2020-10-16T21:05:14.281" v="7791" actId="478"/>
          <ac:picMkLst>
            <pc:docMk/>
            <pc:sldMk cId="843361175" sldId="547"/>
            <ac:picMk id="7" creationId="{10DEF044-4D1E-4439-AEF3-CF8CD304C184}"/>
          </ac:picMkLst>
        </pc:picChg>
        <pc:picChg chg="del">
          <ac:chgData name="Chhabra, Aniket" userId="598e0514-bef3-4e71-b6aa-f2edd6441cff" providerId="ADAL" clId="{3A0A5D55-ED04-41A6-8F2E-B69EB9F4FF13}" dt="2020-10-16T21:05:03.200" v="7789" actId="478"/>
          <ac:picMkLst>
            <pc:docMk/>
            <pc:sldMk cId="843361175" sldId="547"/>
            <ac:picMk id="9" creationId="{9614500B-1DE4-4E51-913F-CE8B8AF2ABE4}"/>
          </ac:picMkLst>
        </pc:picChg>
        <pc:picChg chg="del">
          <ac:chgData name="Chhabra, Aniket" userId="598e0514-bef3-4e71-b6aa-f2edd6441cff" providerId="ADAL" clId="{3A0A5D55-ED04-41A6-8F2E-B69EB9F4FF13}" dt="2020-10-16T21:01:38.715" v="7779" actId="478"/>
          <ac:picMkLst>
            <pc:docMk/>
            <pc:sldMk cId="843361175" sldId="547"/>
            <ac:picMk id="10" creationId="{B86D4930-71F8-4DA9-A21F-32BE012294AA}"/>
          </ac:picMkLst>
        </pc:picChg>
        <pc:picChg chg="add mod">
          <ac:chgData name="Chhabra, Aniket" userId="598e0514-bef3-4e71-b6aa-f2edd6441cff" providerId="ADAL" clId="{3A0A5D55-ED04-41A6-8F2E-B69EB9F4FF13}" dt="2020-10-16T21:05:23.908" v="7796" actId="14100"/>
          <ac:picMkLst>
            <pc:docMk/>
            <pc:sldMk cId="843361175" sldId="547"/>
            <ac:picMk id="11" creationId="{262E6401-19F3-4CBA-AA71-9BBC09715BE4}"/>
          </ac:picMkLst>
        </pc:picChg>
      </pc:sldChg>
      <pc:sldChg chg="addSp delSp modSp add del mod">
        <pc:chgData name="Chhabra, Aniket" userId="598e0514-bef3-4e71-b6aa-f2edd6441cff" providerId="ADAL" clId="{3A0A5D55-ED04-41A6-8F2E-B69EB9F4FF13}" dt="2020-10-16T21:19:45.317" v="7892" actId="47"/>
        <pc:sldMkLst>
          <pc:docMk/>
          <pc:sldMk cId="3069720513" sldId="548"/>
        </pc:sldMkLst>
        <pc:spChg chg="mod">
          <ac:chgData name="Chhabra, Aniket" userId="598e0514-bef3-4e71-b6aa-f2edd6441cff" providerId="ADAL" clId="{3A0A5D55-ED04-41A6-8F2E-B69EB9F4FF13}" dt="2020-10-16T21:06:43.586" v="7815" actId="20577"/>
          <ac:spMkLst>
            <pc:docMk/>
            <pc:sldMk cId="3069720513" sldId="548"/>
            <ac:spMk id="8" creationId="{44265914-F9AB-4CD3-9C99-887EB92F44E4}"/>
          </ac:spMkLst>
        </pc:spChg>
        <pc:picChg chg="add mod">
          <ac:chgData name="Chhabra, Aniket" userId="598e0514-bef3-4e71-b6aa-f2edd6441cff" providerId="ADAL" clId="{3A0A5D55-ED04-41A6-8F2E-B69EB9F4FF13}" dt="2020-10-16T21:07:20.603" v="7834" actId="14100"/>
          <ac:picMkLst>
            <pc:docMk/>
            <pc:sldMk cId="3069720513" sldId="548"/>
            <ac:picMk id="3" creationId="{16FB2518-1033-4EBE-9D16-842CABB339B9}"/>
          </ac:picMkLst>
        </pc:picChg>
        <pc:picChg chg="del">
          <ac:chgData name="Chhabra, Aniket" userId="598e0514-bef3-4e71-b6aa-f2edd6441cff" providerId="ADAL" clId="{3A0A5D55-ED04-41A6-8F2E-B69EB9F4FF13}" dt="2020-10-16T21:07:11.228" v="7828" actId="478"/>
          <ac:picMkLst>
            <pc:docMk/>
            <pc:sldMk cId="3069720513" sldId="548"/>
            <ac:picMk id="11" creationId="{262E6401-19F3-4CBA-AA71-9BBC09715BE4}"/>
          </ac:picMkLst>
        </pc:picChg>
      </pc:sldChg>
      <pc:sldChg chg="addSp delSp modSp new add mod">
        <pc:chgData name="Chhabra, Aniket" userId="598e0514-bef3-4e71-b6aa-f2edd6441cff" providerId="ADAL" clId="{3A0A5D55-ED04-41A6-8F2E-B69EB9F4FF13}" dt="2020-10-17T19:15:52.823" v="8455" actId="1036"/>
        <pc:sldMkLst>
          <pc:docMk/>
          <pc:sldMk cId="593586333" sldId="551"/>
        </pc:sldMkLst>
        <pc:spChg chg="del">
          <ac:chgData name="Chhabra, Aniket" userId="598e0514-bef3-4e71-b6aa-f2edd6441cff" providerId="ADAL" clId="{3A0A5D55-ED04-41A6-8F2E-B69EB9F4FF13}" dt="2020-10-17T19:10:01.662" v="8306" actId="478"/>
          <ac:spMkLst>
            <pc:docMk/>
            <pc:sldMk cId="593586333" sldId="551"/>
            <ac:spMk id="2" creationId="{CF0F7E87-E7DC-4E2B-9B2B-E9F814947C8B}"/>
          </ac:spMkLst>
        </pc:spChg>
        <pc:spChg chg="del">
          <ac:chgData name="Chhabra, Aniket" userId="598e0514-bef3-4e71-b6aa-f2edd6441cff" providerId="ADAL" clId="{3A0A5D55-ED04-41A6-8F2E-B69EB9F4FF13}" dt="2020-10-17T19:10:04.222" v="8322" actId="478"/>
          <ac:spMkLst>
            <pc:docMk/>
            <pc:sldMk cId="593586333" sldId="551"/>
            <ac:spMk id="3" creationId="{79672CF9-9086-4AD0-A976-B7F6524696DC}"/>
          </ac:spMkLst>
        </pc:spChg>
        <pc:spChg chg="add del">
          <ac:chgData name="Chhabra, Aniket" userId="598e0514-bef3-4e71-b6aa-f2edd6441cff" providerId="ADAL" clId="{3A0A5D55-ED04-41A6-8F2E-B69EB9F4FF13}" dt="2020-10-17T19:10:17.056" v="8331"/>
          <ac:spMkLst>
            <pc:docMk/>
            <pc:sldMk cId="593586333" sldId="551"/>
            <ac:spMk id="7" creationId="{674111B7-0B78-4B9F-A67E-E1E24D85B7B1}"/>
          </ac:spMkLst>
        </pc:spChg>
        <pc:spChg chg="add del">
          <ac:chgData name="Chhabra, Aniket" userId="598e0514-bef3-4e71-b6aa-f2edd6441cff" providerId="ADAL" clId="{3A0A5D55-ED04-41A6-8F2E-B69EB9F4FF13}" dt="2020-10-17T19:10:19.261" v="8335"/>
          <ac:spMkLst>
            <pc:docMk/>
            <pc:sldMk cId="593586333" sldId="551"/>
            <ac:spMk id="9" creationId="{73499D33-6F1E-4374-BACE-45C03B98566D}"/>
          </ac:spMkLst>
        </pc:spChg>
        <pc:spChg chg="add del">
          <ac:chgData name="Chhabra, Aniket" userId="598e0514-bef3-4e71-b6aa-f2edd6441cff" providerId="ADAL" clId="{3A0A5D55-ED04-41A6-8F2E-B69EB9F4FF13}" dt="2020-10-17T19:10:22.258" v="8337" actId="22"/>
          <ac:spMkLst>
            <pc:docMk/>
            <pc:sldMk cId="593586333" sldId="551"/>
            <ac:spMk id="11" creationId="{0FFDFE48-0F0E-46A1-BD7D-4EB7CD11C2E7}"/>
          </ac:spMkLst>
        </pc:spChg>
        <pc:spChg chg="add mod ord">
          <ac:chgData name="Chhabra, Aniket" userId="598e0514-bef3-4e71-b6aa-f2edd6441cff" providerId="ADAL" clId="{3A0A5D55-ED04-41A6-8F2E-B69EB9F4FF13}" dt="2020-10-17T19:10:35.217" v="8384" actId="20577"/>
          <ac:spMkLst>
            <pc:docMk/>
            <pc:sldMk cId="593586333" sldId="551"/>
            <ac:spMk id="12" creationId="{6A08B30C-39C7-45B0-8608-5DC6CC856E9C}"/>
          </ac:spMkLst>
        </pc:spChg>
        <pc:spChg chg="add mod ord modVis">
          <ac:chgData name="Chhabra, Aniket" userId="598e0514-bef3-4e71-b6aa-f2edd6441cff" providerId="ADAL" clId="{3A0A5D55-ED04-41A6-8F2E-B69EB9F4FF13}" dt="2020-10-17T19:10:34.584" v="8373"/>
          <ac:spMkLst>
            <pc:docMk/>
            <pc:sldMk cId="593586333" sldId="551"/>
            <ac:spMk id="13" creationId="{4A1795F2-B498-44A2-86F5-CF5733A5AE05}"/>
          </ac:spMkLst>
        </pc:spChg>
        <pc:spChg chg="add mod">
          <ac:chgData name="Chhabra, Aniket" userId="598e0514-bef3-4e71-b6aa-f2edd6441cff" providerId="ADAL" clId="{3A0A5D55-ED04-41A6-8F2E-B69EB9F4FF13}" dt="2020-10-17T19:15:52.823" v="8455" actId="1036"/>
          <ac:spMkLst>
            <pc:docMk/>
            <pc:sldMk cId="593586333" sldId="551"/>
            <ac:spMk id="16" creationId="{C68B8AE6-0E41-4E73-A864-3BD840858F60}"/>
          </ac:spMkLst>
        </pc:spChg>
        <pc:graphicFrameChg chg="add mod ord modVis">
          <ac:chgData name="Chhabra, Aniket" userId="598e0514-bef3-4e71-b6aa-f2edd6441cff" providerId="ADAL" clId="{3A0A5D55-ED04-41A6-8F2E-B69EB9F4FF13}" dt="2020-10-17T19:10:35.718" v="8386"/>
          <ac:graphicFrameMkLst>
            <pc:docMk/>
            <pc:sldMk cId="593586333" sldId="551"/>
            <ac:graphicFrameMk id="5" creationId="{167A77CF-4B2E-4BB4-8502-B5379F280B13}"/>
          </ac:graphicFrameMkLst>
        </pc:graphicFrameChg>
        <pc:picChg chg="add mod ord">
          <ac:chgData name="Chhabra, Aniket" userId="598e0514-bef3-4e71-b6aa-f2edd6441cff" providerId="ADAL" clId="{3A0A5D55-ED04-41A6-8F2E-B69EB9F4FF13}" dt="2020-10-17T19:15:52.823" v="8455" actId="1036"/>
          <ac:picMkLst>
            <pc:docMk/>
            <pc:sldMk cId="593586333" sldId="551"/>
            <ac:picMk id="4" creationId="{14BCFEC9-A9BA-4EFF-ACA7-13B8E887DE7B}"/>
          </ac:picMkLst>
        </pc:picChg>
        <pc:picChg chg="add del">
          <ac:chgData name="Chhabra, Aniket" userId="598e0514-bef3-4e71-b6aa-f2edd6441cff" providerId="ADAL" clId="{3A0A5D55-ED04-41A6-8F2E-B69EB9F4FF13}" dt="2020-10-17T19:11:16.638" v="8392" actId="478"/>
          <ac:picMkLst>
            <pc:docMk/>
            <pc:sldMk cId="593586333" sldId="551"/>
            <ac:picMk id="14" creationId="{B7D1453F-5678-44D6-BC31-3E40F194CAA6}"/>
          </ac:picMkLst>
        </pc:picChg>
        <pc:picChg chg="add mod">
          <ac:chgData name="Chhabra, Aniket" userId="598e0514-bef3-4e71-b6aa-f2edd6441cff" providerId="ADAL" clId="{3A0A5D55-ED04-41A6-8F2E-B69EB9F4FF13}" dt="2020-10-17T19:15:52.823" v="8455" actId="1036"/>
          <ac:picMkLst>
            <pc:docMk/>
            <pc:sldMk cId="593586333" sldId="551"/>
            <ac:picMk id="15" creationId="{50D435CF-BCCC-4024-B749-2909F28F3B9A}"/>
          </ac:picMkLst>
        </pc:picChg>
        <pc:picChg chg="add del mod">
          <ac:chgData name="Chhabra, Aniket" userId="598e0514-bef3-4e71-b6aa-f2edd6441cff" providerId="ADAL" clId="{3A0A5D55-ED04-41A6-8F2E-B69EB9F4FF13}" dt="2020-10-17T19:15:27.745" v="8422" actId="478"/>
          <ac:picMkLst>
            <pc:docMk/>
            <pc:sldMk cId="593586333" sldId="551"/>
            <ac:picMk id="17" creationId="{9CD38F58-A59C-4986-8AB7-081BE319EFE9}"/>
          </ac:picMkLst>
        </pc:picChg>
        <pc:picChg chg="add mod">
          <ac:chgData name="Chhabra, Aniket" userId="598e0514-bef3-4e71-b6aa-f2edd6441cff" providerId="ADAL" clId="{3A0A5D55-ED04-41A6-8F2E-B69EB9F4FF13}" dt="2020-10-17T19:15:52.823" v="8455" actId="1036"/>
          <ac:picMkLst>
            <pc:docMk/>
            <pc:sldMk cId="593586333" sldId="551"/>
            <ac:picMk id="18" creationId="{7CDAABCE-04EC-4A38-8AE5-7DA83BA36679}"/>
          </ac:picMkLst>
        </pc:picChg>
      </pc:sldChg>
    </pc:docChg>
  </pc:docChgLst>
  <pc:docChgLst>
    <pc:chgData name="Chhabra, Aniket" userId="598e0514-bef3-4e71-b6aa-f2edd6441cff" providerId="ADAL" clId="{CCF7DFE2-AE45-44C2-9002-FF0B75647E1E}"/>
    <pc:docChg chg="modSld sldOrd">
      <pc:chgData name="Chhabra, Aniket" userId="598e0514-bef3-4e71-b6aa-f2edd6441cff" providerId="ADAL" clId="{CCF7DFE2-AE45-44C2-9002-FF0B75647E1E}" dt="2020-12-19T01:18:28.592" v="1"/>
      <pc:docMkLst>
        <pc:docMk/>
      </pc:docMkLst>
      <pc:sldChg chg="ord">
        <pc:chgData name="Chhabra, Aniket" userId="598e0514-bef3-4e71-b6aa-f2edd6441cff" providerId="ADAL" clId="{CCF7DFE2-AE45-44C2-9002-FF0B75647E1E}" dt="2020-12-19T01:18:28.592" v="1"/>
        <pc:sldMkLst>
          <pc:docMk/>
          <pc:sldMk cId="1278864213" sldId="553"/>
        </pc:sldMkLst>
      </pc:sldChg>
    </pc:docChg>
  </pc:docChgLst>
</pc:chgInfo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6-27T03:47:43.62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 320 0 0,'0'0'3400'0'0,"14"18"-907"0"0,21-2-1627 0 0,-33-15-806 0 0,2-1-16 0 0,74 7 266 0 0,-73-7-256 0 0,-4 1-50 0 0,-1-1 1 0 0,1 0-1 0 0,0 1 1 0 0,0-1-1 0 0,0 0 0 0 0,0 0 1 0 0,0 1-1 0 0,0-1 1 0 0,-1 0-1 0 0,1 0 1 0 0,0 0-1 0 0,0 0 1 0 0,0 0-1 0 0,0 0 1 0 0,0-1-1 0 0,1 1 1 0 0,13-2 12 0 0,173-3 338 0 0,-183 5-332 0 0,-1 0-47 0 0,14 0 43 0 0,-14 0-36 0 0,0 0 50 0 0,32 1-1 0 0,-33-1-54 0 0,1 1 45 0 0,55 0 52 0 0,-55-1-20 0 0,15 2 0 0 0,-14-2-19 0 0,12 0-49 0 0,-13 0 42 0 0,0 0-46 0 0,30-2 62 0 0,-31 2-58 0 0,2 0 40 0 0,31-2-70 0 0,-34 2 69 0 0,2 0-33 0 0,54-1 174 0 0,-55 1-114 0 0,1 0-25 0 0,34 0 98 0 0,-35 0-78 0 0,1-1-42 0 0,48-4 177 0 0,-49 5-170 0 0,1-1 38 0 0,11 0-42 0 0,-11 1 41 0 0,1 0-48 0 0,12 0 38 0 0,-13 0-41 0 0,0-1 39 0 0,120-8 380 0 0,-120 9-381 0 0,0 0-34 0 0,135-4 127 0 0,-135 4-114 0 0,0 0 8 0 0,36-1 23 0 0,-37 0-34 0 0,1 1 3 0 0,43-1 45 0 0,60 0 8 0 0,-61 2-59 0 0,117-6 130 0 0,-144 5-143 0 0,33 2 34 0 0,-48-2-16 0 0,0 1-12 0 0,12 0 10 0 0,31-1 69 0 0,-43 0-66 0 0,1 0-7 0 0,36-2 25 0 0,-4-1-32 0 0,-21 2-3 0 0,-13 1-8 0 0,1 0 8 0 0,48 0-26 0 0,-31 1 23 0 0,23 2 34 0 0,-9-1 27 0 0,-31-2-47 0 0,-1 1 7 0 0,11 0 1 0 0,-10-1 4 0 0,0 0 10 0 0,93-6 82 0 0,-94 6-110 0 0,0 0-8 0 0,33-2-31 0 0,-32 2 53 0 0,-1 0-3 0 0,70 4 12 0 0,-69-4 7 0 0,0 0-49 0 0,3 0 93 0 0,-6 0-36 0 0,1-1-1 0 0,-1 1 1 0 0,1 0-1 0 0,-1 0 1 0 0,0-1-1 0 0,1 1 1 0 0,-1 0-1 0 0,1 1 0 0 0,-1-1 1 0 0,0 0-1 0 0,1 0 1 0 0,-1 1-1 0 0,1-1 1 0 0,-1 0-1 0 0,0 1 1 0 0,1-1-1 0 0,-1 1 0 0 0,0 0 1 0 0,0 0-1 0 0,0-1 1 0 0,1 1-1 0 0,-1 0 1 0 0,1 1-1 0 0,-1 0 191 0 0,-8 34 585 0 0,9-15-287 0 0,6 39-1 0 0,-1-15-81 0 0,-4-21-326 0 0,5 66 42 0 0,-3-51-64 0 0,-3-30-82 0 0,-2-7-14 0 0,0 0-11 0 0,2 6 6 0 0,-2-6 22 0 0,3 37 268 0 0,-1-26-1590 0 0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6-27T03:48:06.04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52 94 1096 0 0,'-4'-4'1284'0'0,"0"1"0"0"0,0-1 1 0 0,0 0-1 0 0,-5-9 0 0 0,8 12-1100 0 0,0-1-1 0 0,0 0 1 0 0,0 0-1 0 0,0 0 1 0 0,1 0-1 0 0,-1 0 1 0 0,1 0 0 0 0,-1 0-1 0 0,1 0 1 0 0,0 0-1 0 0,0 0 1 0 0,0 0 0 0 0,0 0-1 0 0,0-1 1 0 0,1-1-1 0 0,0 2-134 0 0,0 1 1 0 0,-1 0-1 0 0,1-1 0 0 0,0 1 0 0 0,0 0 0 0 0,0-1 1 0 0,0 1-1 0 0,0 0 0 0 0,1 0 0 0 0,-1 0 0 0 0,0 0 0 0 0,0 0 1 0 0,1 0-1 0 0,-1 1 0 0 0,1-1 0 0 0,-1 0 0 0 0,2 0 0 0 0,1-1 40 0 0,0 0 0 0 0,1 1 0 0 0,-1 0 0 0 0,1-1 0 0 0,8 0-1 0 0,37 1 340 0 0,-41 1-399 0 0,-1 0-1 0 0,0 1 0 0 0,0 0 0 0 0,0 0 1 0 0,1 1-1 0 0,-1 0 0 0 0,-1 1 1 0 0,1 0-1 0 0,0 0 0 0 0,-1 1 0 0 0,1-1 1 0 0,-1 2-1 0 0,0-1 0 0 0,0 1 0 0 0,-1 0 1 0 0,8 7-1 0 0,-9-7-15 0 0,-1 0 0 0 0,1 1 0 0 0,-1-1-1 0 0,0 1 1 0 0,-1 0 0 0 0,1 0 0 0 0,-1 1 0 0 0,-1-1 0 0 0,1 0 0 0 0,-1 1 0 0 0,0 0 0 0 0,0-1-1 0 0,-1 1 1 0 0,0 0 0 0 0,0 0 0 0 0,-1 0 0 0 0,0 0 0 0 0,0 10 0 0 0,-3-3 19 0 0,1 0 1 0 0,-2 0-1 0 0,0 0 0 0 0,0-1 1 0 0,-2 1-1 0 0,-12 23 1 0 0,-51 71 565 0 0,39-66-60 0 0,6-5 490 0 0,24-35-856 0 0,0-2-166 0 0,0 1 1 0 0,0 0-1 0 0,0-1 1 0 0,0 1-1 0 0,1-1 1 0 0,-1 1-1 0 0,0-1 1 0 0,0 1-1 0 0,1-1 1 0 0,-1 1-1 0 0,0-1 1 0 0,1 1-1 0 0,-1-1 1 0 0,1 1-1 0 0,-1-1 1 0 0,0 0-1 0 0,1 1 1 0 0,-1-1-1 0 0,1 0 0 0 0,-1 1 1 0 0,1-1-1 0 0,-1 0 1 0 0,1 0-1 0 0,0 1 1 0 0,-1-1-1 0 0,1 0 1 0 0,-1 0-1 0 0,1 0 1 0 0,-1 0-1 0 0,2 0 1 0 0,19 2 6 0 0,-17-2 11 0 0,44 5 45 0 0,-28-4-70 0 0,44 7-6 0 0,-59-7 52 0 0,1 0 0 0 0,-1 0 0 0 0,1 1 0 0 0,-1-1 0 0 0,1 1 0 0 0,-1 1 0 0 0,0-1 0 0 0,0 1 0 0 0,0 0-1 0 0,0 0 1 0 0,-1 1 0 0 0,1-1 0 0 0,-1 1 0 0 0,0 0 0 0 0,0 0 0 0 0,0 0 0 0 0,0 1 0 0 0,-1-1 0 0 0,0 1 0 0 0,0 0 0 0 0,0 0 0 0 0,-1 0 0 0 0,1 0-1 0 0,-1 1 1 0 0,0-1 0 0 0,-1 1 0 0 0,1-1 0 0 0,-1 1 0 0 0,0 0 0 0 0,-1-1 0 0 0,1 1 0 0 0,-1 0 0 0 0,0-1 0 0 0,-1 1 0 0 0,1 0 0 0 0,-1-1 0 0 0,0 1 0 0 0,-1 0-1 0 0,1-1 1 0 0,-1 1 0 0 0,0-1 0 0 0,0 0 0 0 0,-1 0 0 0 0,0 0 0 0 0,-5 8 0 0 0,2-6 59 0 0,0 1 0 0 0,-1-1 0 0 0,0-1 0 0 0,0 1 0 0 0,-1-1 0 0 0,0 0 0 0 0,0-1-1 0 0,0 0 1 0 0,-1 0 0 0 0,0-1 0 0 0,0 0 0 0 0,0 0 0 0 0,0-1 0 0 0,0 0 0 0 0,-1-1 0 0 0,1 0 0 0 0,-1 0 0 0 0,0-1 0 0 0,-14-1 0 0 0,3 1-447 0 0,1-2 0 0 0,-1-1 0 0 0,-24-5 0 0 0,17 1-2954 0 0,-41-15 0 0 0,51 12-1998 0 0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6-27T03:48:06.38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37 320 0 0,'3'0'2772'0'0,"51"-18"7420"0"0,-52 17-9359 0 0,15-7 894 0 0,-16 8-1771 0 0,0-1-1 0 0,0 0 1 0 0,0 0-1 0 0,-1 1 1 0 0,1-1-1 0 0,1 1 1 0 0,-1-1-1 0 0,0 1 1 0 0,0-1-1 0 0,0 1 1 0 0,0 0-1 0 0,0 0 1 0 0,0-1-1 0 0,0 1 1 0 0,3 0-1 0 0,15-2-4208 0 0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6-27T03:48:10.28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4 34 444 0 0,'0'0'794'0'0,"1"-16"1977"0"0,-1-1 1896 0 0,-8 27-3324 0 0,-12 31-1089 0 0,19-39-23 0 0,-2 9-104 0 0,-1-1-1 0 0,2 1 0 0 0,-1-1 1 0 0,2 1-1 0 0,-1 0 0 0 0,1 0 1 0 0,1 0-1 0 0,0 0 0 0 0,1 0 0 0 0,0-1 1 0 0,0 1-1 0 0,6 18 0 0 0,-6-24-97 0 0,1 0-1 0 0,1-1 0 0 0,-1 1 1 0 0,0 0-1 0 0,1-1 0 0 0,0 1 1 0 0,0-1-1 0 0,1 0 0 0 0,-1 0 1 0 0,1 0-1 0 0,0-1 0 0 0,7 6 1 0 0,-4-4-4 0 0,1-1 1 0 0,1 1 0 0 0,-1-1-1 0 0,0-1 1 0 0,1 0 0 0 0,10 2 0 0 0,-14-4-23 0 0,-1 0 0 0 0,1-1 0 0 0,0 0 1 0 0,0 0-1 0 0,0-1 0 0 0,0 1 1 0 0,0-1-1 0 0,0 0 0 0 0,5-2 0 0 0,32-13 46 0 0,-35 13 5 0 0,-1-1 0 0 0,0 0 1 0 0,0 0-1 0 0,0 0 0 0 0,0-1 0 0 0,-1 0 1 0 0,0 0-1 0 0,0 0 0 0 0,0-1 0 0 0,-1 0 1 0 0,0 0-1 0 0,0 0 0 0 0,0 0 1 0 0,-1-1-1 0 0,0 1 0 0 0,0-1 0 0 0,3-11 1 0 0,11-47 1027 0 0,-16 62-1028 0 0,4-6 69 0 0,-1 20 16 0 0,0 0 0 0 0,-1 0 0 0 0,-1 0 0 0 0,1 1 0 0 0,-2-1 0 0 0,0 1 0 0 0,0 13 1 0 0,2 15 291 0 0,-1-27-315 0 0,14 195 717 0 0,-16-192-1245 0 0,2 29-2830 0 0,-2-42 2482 0 0,0 2-350 0 0,0 1-164 0 0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6-27T03:48:10.63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0 40 0 0,'6'-14'4957'0'0,"-6"14"-4870"0"0,0 0 0 0 0,0 0-1 0 0,0-1 1 0 0,0 1 0 0 0,0 0-1 0 0,0-1 1 0 0,0 1 0 0 0,0 0 0 0 0,0 0-1 0 0,1-1 1 0 0,-1 1 0 0 0,0 0 0 0 0,0 0-1 0 0,0 0 1 0 0,1-1 0 0 0,-1 1-1 0 0,0 0 1 0 0,0 0 0 0 0,0 0 0 0 0,1 0-1 0 0,-1-1 1 0 0,0 1 0 0 0,0 0-1 0 0,1 0 1 0 0,-1 0 0 0 0,0 0 0 0 0,0 0-1 0 0,1 0 1 0 0,-1 0 0 0 0,0 0 0 0 0,1 0-1 0 0,-1 0 1 0 0,0 0 0 0 0,0 0-1 0 0,1 0 1 0 0,-1 0 0 0 0,1 0 0 0 0,5 11 1697 0 0,2 30-324 0 0,-6-31-870 0 0,39 303 4483 0 0,-39-260-7869 0 0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6-27T03:48:12.66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6 70 536 0 0,'0'0'1205'0'0,"-11"-9"2368"0"0,3 2-2951 0 0,6 6 33 0 0,1 0-542 0 0,1 0 0 0 0,0 0 0 0 0,0 0 0 0 0,-1 0 0 0 0,1 1 1 0 0,-1-1-1 0 0,1 0 0 0 0,-1 0 0 0 0,1 1 0 0 0,-1-1 0 0 0,1 0 1 0 0,-1 1-1 0 0,0-1 0 0 0,1 0 0 0 0,-1 1 0 0 0,0-1 1 0 0,0 1-1 0 0,0-1 0 0 0,0 0-8 0 0,0 1-1 0 0,0-1 1 0 0,0 1-1 0 0,0-1 1 0 0,1 1 0 0 0,-1-1-1 0 0,0 1 1 0 0,1-1 0 0 0,-1 0-1 0 0,0 0 1 0 0,1 1 0 0 0,-1-1-1 0 0,1 0 1 0 0,-1 0 0 0 0,1 0-1 0 0,-1 1 1 0 0,1-1 0 0 0,0 0-1 0 0,-1 0 1 0 0,1 0-1 0 0,0 0 1 0 0,0 0 0 0 0,0 0-1 0 0,0 0 1 0 0,0-1 0 0 0,0 0-11 0 0,3 1-36 0 0,33-5 28 0 0,1 1-1 0 0,0 2 1 0 0,41 2 0 0 0,-43 3-163 0 0,-32-2 47 0 0,0 2 10 0 0,-1-1 37 0 0,0 0-1 0 0,1 0 1 0 0,-1 0-1 0 0,0 1 1 0 0,0-1-1 0 0,0 1 1 0 0,0-1-1 0 0,0 1 1 0 0,-1 0-1 0 0,1 0 1 0 0,0 0 0 0 0,-1 0-1 0 0,0 0 1 0 0,1 0-1 0 0,-1 0 1 0 0,0 1-1 0 0,0-1 1 0 0,0 0-1 0 0,0 1 1 0 0,0-1-1 0 0,-1 0 1 0 0,1 1-1 0 0,-1-1 1 0 0,0 3-1 0 0,13 160 1790 0 0,-10-137-1608 0 0,1 1-192 0 0,8 83 712 0 0,-4-37-3173 0 0,-7-68 1477 0 0,0 5-726 0 0,-4 9-5726 0 0</inkml:trace>
</inkml:ink>
</file>

<file path=ppt/ink/ink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6-27T03:48:13.03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7 72 348 0 0,'-3'0'1812'0'0,"-10"-3"-324"0"0,10 2-348 0 0,2 1-1031 0 0,1 0-1 0 0,0 0 1 0 0,-1 0 0 0 0,1 0 0 0 0,-1 0-1 0 0,1-1 1 0 0,0 1 0 0 0,-1 0 0 0 0,1 0-1 0 0,0 0 1 0 0,0-1 0 0 0,-1 1 0 0 0,1 0-1 0 0,0 0 1 0 0,-1-1 0 0 0,1 1 0 0 0,0 0-1 0 0,0-1 1 0 0,0 1 0 0 0,-1 0 0 0 0,1-1-1 0 0,0 1 1 0 0,0-1 0 0 0,0 1 0 0 0,0-1-1 0 0,2-2 51 0 0,2 0-1 0 0,-1 1 0 0 0,0-1 1 0 0,1 1-1 0 0,-1 0 0 0 0,1 0 1 0 0,-1 0-1 0 0,1 0 0 0 0,7-2 1 0 0,40-8-856 0 0,-18 4-458 0 0,17-4-2433 0 0,-35 8 2233 0 0</inkml:trace>
</inkml:ink>
</file>

<file path=ppt/ink/ink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6-27T03:48:14.36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48 1 1088 0 0,'0'0'4861'0'0,"3"0"-4183"0"0,8 4 5 0 0,-13 3 648 0 0,-22 14 322 0 0,20-19-1757 0 0,-154 95 2123 0 0,105-67-1517 0 0,-53 38 1 0 0,105-67-460 0 0,0 0 0 0 0,0 0 0 0 0,0 0 0 0 0,0 0 0 0 0,0 0 0 0 0,0 0 0 0 0,0 0 0 0 0,1 0 0 0 0,-1 0 0 0 0,0 0 0 0 0,0 0 0 0 0,1 1 0 0 0,-1-1 0 0 0,1 0 0 0 0,-1 0 0 0 0,1 1 0 0 0,0-1 0 0 0,-1 0 0 0 0,1 1 0 0 0,0-1 0 0 0,0 0 0 0 0,0 1 0 0 0,0-1 0 0 0,0 1 1 0 0,0-1-1 0 0,0 0 0 0 0,1 1 0 0 0,-1-1 0 0 0,0 0 0 0 0,1 1 0 0 0,-1-1 0 0 0,1 0 0 0 0,0 0 0 0 0,-1 1 0 0 0,1-1 0 0 0,0 0 0 0 0,0 0 0 0 0,0 1 0 0 0,2 2 57 0 0,0 0 0 0 0,1-1 0 0 0,-1 1 0 0 0,1-1 0 0 0,-1 0 0 0 0,1 0 1 0 0,0 0-1 0 0,0-1 0 0 0,5 3 0 0 0,161 62 1061 0 0,-30-23-2502 0 0,-137-43 749 0 0,0 0-94 0 0,0 0 243 0 0,4 0 218 0 0</inkml:trace>
</inkml:ink>
</file>

<file path=ppt/ink/ink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6-27T03:48:16.27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5 71 1040 0 0,'0'0'2477'0'0,"-18"-29"4506"0"0,18 28-6921 0 0,0 0 1 0 0,0 1-1 0 0,0-1 1 0 0,0 0-1 0 0,0 0 1 0 0,0 0-1 0 0,0 0 1 0 0,0 0-1 0 0,0 0 1 0 0,1 0 0 0 0,-1 0-1 0 0,0 0 1 0 0,1 0-1 0 0,-1 0 1 0 0,0 0-1 0 0,1 1 1 0 0,-1-1-1 0 0,1 0 1 0 0,-1 0-1 0 0,1 0 1 0 0,0 1-1 0 0,-1-1 1 0 0,2-1-1 0 0,0 1-3 0 0,1-1-1 0 0,-1 0 0 0 0,1 1 0 0 0,0-1 0 0 0,-1 1 0 0 0,1 0 0 0 0,0 0 0 0 0,3-1 0 0 0,1 0-33 0 0,1 0 0 0 0,-1 1 0 0 0,0 0 0 0 0,1 1 0 0 0,-1-1 0 0 0,1 1 0 0 0,9 2 0 0 0,-9-1-26 0 0,-1 1-1 0 0,1 0 1 0 0,-1 0 0 0 0,1 1-1 0 0,-1 0 1 0 0,0 0-1 0 0,0 1 1 0 0,9 5-1 0 0,-14-7 7 0 0,0-1-1 0 0,0 1 0 0 0,0 0 1 0 0,0-1-1 0 0,0 1 0 0 0,-1 0 1 0 0,1 0-1 0 0,0 1 0 0 0,-1-1 0 0 0,0 0 1 0 0,1 0-1 0 0,-1 1 0 0 0,0-1 1 0 0,0 1-1 0 0,0-1 0 0 0,-1 1 1 0 0,1-1-1 0 0,-1 1 0 0 0,1-1 1 0 0,-1 1-1 0 0,0 0 0 0 0,0-1 0 0 0,0 1 1 0 0,0 0-1 0 0,0-1 0 0 0,-1 1 1 0 0,1-1-1 0 0,-1 1 0 0 0,0 0 1 0 0,-1 2-1 0 0,-5 10 62 0 0,0 0 1 0 0,-1-1-1 0 0,-1 0 0 0 0,-1 0 1 0 0,0-1-1 0 0,-15 15 1 0 0,5-4-90 0 0,19-23 15 0 0,2 14 74 0 0,3-10-63 0 0,1 0 0 0 0,-1-1 0 0 0,1 1-1 0 0,-1-1 1 0 0,1-1 0 0 0,0 1 0 0 0,1-1 0 0 0,6 4 0 0 0,24 18 11 0 0,-30-21 0 0 0,0 2 0 0 0,0-1 0 0 0,0 1 0 0 0,-1 0 0 0 0,1 0 0 0 0,-2 1 1 0 0,1-1-1 0 0,-1 1 0 0 0,0 0 0 0 0,0 0 0 0 0,0 1 0 0 0,-1-1 0 0 0,2 10 0 0 0,-5-15 23 0 0,1 0-1 0 0,-1 0 0 0 0,-1 0 1 0 0,1 1-1 0 0,0-1 0 0 0,-1 0 1 0 0,1 0-1 0 0,-1 0 0 0 0,1 0 1 0 0,-1 0-1 0 0,0 0 0 0 0,0 0 1 0 0,0 0-1 0 0,0 0 0 0 0,0 0 1 0 0,0-1-1 0 0,-1 1 0 0 0,1 0 1 0 0,-1-1-1 0 0,1 1 0 0 0,-4 2 1 0 0,-1 1 161 0 0,-1 1 0 0 0,0-1 0 0 0,-15 7 0 0 0,9-6-37 0 0,0-1 1 0 0,0 0 0 0 0,0-1 0 0 0,-1 0-1 0 0,1-1 1 0 0,-1-1 0 0 0,0 0 0 0 0,0-1-1 0 0,-15 0 1 0 0,8-2-1967 0 0,0-1 0 0 0,-39-8-1 0 0,49 5-1945 0 0</inkml:trace>
</inkml:ink>
</file>

<file path=ppt/ink/ink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6-27T03:48:16.66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 1588 0 0,'4'0'3608'0'0,"14"2"133"0"0,-14-2-2740 0 0,14 0 1998 0 0,-15 0-2727 0 0,12 0-212 0 0,-12 0-160 0 0,3 8-2564 0 0</inkml:trace>
</inkml:ink>
</file>

<file path=ppt/ink/ink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6-27T03:48:17.06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0 183 1476 0 0,'5'-1'1309'0'0,"3"-1"-866"0"0,1 0 1 0 0,-1 1-1 0 0,0 1 0 0 0,1-1 1 0 0,0 1-1 0 0,-1 1 0 0 0,1 0 1 0 0,-1 0-1 0 0,0 0 0 0 0,1 1 1 0 0,-1 0-1 0 0,0 1 0 0 0,0 0 1 0 0,0 0-1 0 0,9 6 0 0 0,-11-6-287 0 0,0 2-1 0 0,0-1 0 0 0,-1 0 0 0 0,1 1 1 0 0,-1 0-1 0 0,0 0 0 0 0,0 1 0 0 0,-1-1 1 0 0,0 1-1 0 0,7 13 0 0 0,-9-17-135 0 0,-1 1-1 0 0,0-1 0 0 0,0 0 1 0 0,-1 1-1 0 0,1-1 1 0 0,0 1-1 0 0,-1-1 1 0 0,1 1-1 0 0,-1 0 0 0 0,0-1 1 0 0,0 1-1 0 0,0-1 1 0 0,0 1-1 0 0,-1 0 0 0 0,1-1 1 0 0,-1 1-1 0 0,1-1 1 0 0,-1 1-1 0 0,0-1 1 0 0,0 1-1 0 0,0-1 0 0 0,0 0 1 0 0,0 1-1 0 0,-1-1 1 0 0,1 0-1 0 0,-1 0 0 0 0,1 0 1 0 0,-1 0-1 0 0,0 0 1 0 0,0 0-1 0 0,0-1 1 0 0,0 1-1 0 0,0-1 0 0 0,-4 3 1 0 0,0 0 9 0 0,0-1-1 0 0,0 0 1 0 0,0 0 0 0 0,-1 0 0 0 0,-8 2 0 0 0,12-4-39 0 0,1-1 0 0 0,-1 1 0 0 0,0-1 0 0 0,0 1 0 0 0,0-1 0 0 0,0 0 1 0 0,0 0-1 0 0,1-1 0 0 0,-1 1 0 0 0,0-1 0 0 0,0 1 0 0 0,0-1 0 0 0,1 0 0 0 0,-5-2 0 0 0,5 2-20 0 0,0-1-1 0 0,1 0 0 0 0,-1 0 0 0 0,1 0 0 0 0,-1 0 0 0 0,1 0 1 0 0,0 0-1 0 0,0 0 0 0 0,0-1 0 0 0,0 1 0 0 0,0 0 0 0 0,1 0 1 0 0,-1-1-1 0 0,1 1 0 0 0,-1-1 0 0 0,1 1 0 0 0,0-1 0 0 0,0 1 1 0 0,0-5-1 0 0,3-7-41 0 0,0 0 1 0 0,1 1-1 0 0,0 0 0 0 0,1 0 1 0 0,0 0-1 0 0,1 0 1 0 0,9-12-1 0 0,1-6 39 0 0,-14 27 34 0 0,7-15 8 0 0,11-33-1 0 0,-18 48-2 0 0,-1-1-1 0 0,0 1 0 0 0,0-1 0 0 0,0 1 0 0 0,0-1 1 0 0,-1 1-1 0 0,0-1 0 0 0,0 1 0 0 0,0-1 0 0 0,-1 1 0 0 0,1-1 1 0 0,-1 1-1 0 0,-3-9 0 0 0,3 11-1 0 0,0 0 0 0 0,0 1 0 0 0,-1-1 0 0 0,1 0 0 0 0,-1 1 0 0 0,1-1-1 0 0,-1 1 1 0 0,1 0 0 0 0,-1-1 0 0 0,0 1 0 0 0,0 0 0 0 0,0 0 0 0 0,0 0 0 0 0,0 0 0 0 0,0 1 0 0 0,0-1 0 0 0,0 0 0 0 0,0 1 0 0 0,0-1-1 0 0,0 1 1 0 0,0 0 0 0 0,-3 0 0 0 0,-38 1 3 0 0,37 0-11 0 0,1 0 1 0 0,0 0-1 0 0,0 0 0 0 0,0 1 0 0 0,0 0 0 0 0,0 0 0 0 0,0 0 0 0 0,0 1 0 0 0,0-1 1 0 0,1 1-1 0 0,-1 0 0 0 0,1 0 0 0 0,0 1 0 0 0,0-1 0 0 0,0 1 0 0 0,0 0 0 0 0,1 0 0 0 0,0 0 1 0 0,0 1-1 0 0,0-1 0 0 0,0 1 0 0 0,-3 8 0 0 0,5-11-167 0 0,1 1-1 0 0,0 0 1 0 0,0 0-1 0 0,0-1 1 0 0,0 1-1 0 0,0 0 1 0 0,0 0-1 0 0,1-1 1 0 0,-1 1 0 0 0,1 0-1 0 0,0-1 1 0 0,0 1-1 0 0,0-1 1 0 0,0 1-1 0 0,0-1 1 0 0,1 1-1 0 0,-1-1 1 0 0,1 0-1 0 0,2 4 1 0 0,10 5-3165 0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6-27T03:47:50.50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 112 0 0,'0'0'4694'0'0,"3"11"-3679"0"0,18 139 1764 0 0,-10-58-2083 0 0,-3-23-443 0 0,-6-50-89 0 0,0 36-1 0 0,-2-53-154 0 0,0 0-1 0 0,0 6 1 0 0,5 55 265 0 0,3-17-1 0 0,-8-45-215 0 0,8 36 69 0 0,-6-32-145 0 0,-1-2 23 0 0,0 1 0 0 0,1-1 1 0 0,-1 0-1 0 0,1 0 1 0 0,0 0-1 0 0,4 5 1 0 0,-5-7 162 0 0,3-1-80 0 0,10 0 6 0 0,-10 0-18 0 0,-1 0 1 0 0,27-5 47 0 0,-26 4-100 0 0,0 1-11 0 0,35-6 11 0 0,23-3-40 0 0,-60 9 28 0 0,2 0-6 0 0,12 0-6 0 0,-12 0 8 0 0,0-1-13 0 0,77-6 262 0 0,-35 1-218 0 0,1 3 1 0 0,0 1 0 0 0,77 9-1 0 0,-77 2-33 0 0,-44-8-38 0 0,0 0 62 0 0,45 13-6 0 0,-45-14-66 0 0,14 4-76 0 0,0-1 126 0 0,179 25 407 0 0,-193-28-439 0 0,-2 0 28 0 0,-1 0-1 0 0,1-1 0 0 0,0 1 1 0 0,0 0-1 0 0,-1 0 1 0 0,1 0-1 0 0,0 0 0 0 0,-1 0 1 0 0,1 0-1 0 0,0 0 1 0 0,0 0-1 0 0,-1 0 1 0 0,1 0-1 0 0,0 0 0 0 0,0 0 1 0 0,-1 0-1 0 0,2 1 1 0 0,11 2 31 0 0,2-2 6 0 0,-12-1-54 0 0,1 0 48 0 0,12 0-62 0 0,-12 0 52 0 0,0 0 8 0 0,34 2 32 0 0,-35-2-14 0 0,8 0-16 0 0,3-2 48 0 0,19 1 5 0 0,-30 0-110 0 0,0 1 44 0 0,12-3-46 0 0,-12 2 52 0 0,1 1-42 0 0,80-5-6 0 0,-81 5 34 0 0,13 0 10 0 0,-13 0-30 0 0,8 0 23 0 0,3-2-1 0 0,19 0 101 0 0,-30 2-70 0 0,1 0-45 0 0,12 0 33 0 0,-12 0-42 0 0,0-1 34 0 0,86-10 36 0 0,-87 11-58 0 0,1 0-36 0 0,11-2 49 0 0,-11 2-40 0 0,1 0 46 0 0,36 0-20 0 0,-37 0-50 0 0,1 0-8 0 0,32 0 51 0 0,-34 0 6 0 0,2 0 42 0 0,12 2-59 0 0,-13-2 39 0 0,1 0-35 0 0,70 2 52 0 0,-73-2-28 0 0,2 0-32 0 0,92 15 74 0 0,-92-15-64 0 0,15 0 45 0 0,-15 1-58 0 0,10 0 31 0 0,-10-1-29 0 0,0 1 47 0 0,33 0-32 0 0,-33-1-16 0 0,0 0 45 0 0,34 0 15 0 0,-35 0-51 0 0,1 0 36 0 0,30 0-3 0 0,-31 0-20 0 0,1 0-18 0 0,10 0 30 0 0,-10 0-12 0 0,0 0-6 0 0,12 0 42 0 0,-12 0 23 0 0,-1 0-20 0 0,53-1 295 0 0,-53 0-289 0 0,13 1-5 0 0,-12 0-47 0 0,-2 1 12 0 0,1-1 0 0 0,0 0 0 0 0,-1 0 1 0 0,1 0-1 0 0,0 0 0 0 0,-1 0 0 0 0,5-1 0 0 0,13-1 22 0 0,0 2-17 0 0,-16 0-2 0 0,12 0-21 0 0,-13 0 20 0 0,37 2 21 0 0,-37-2-4 0 0,13 0 28 0 0,-12 0 8 0 0,21-2 31 0 0,-21 2 237 0 0,0 0 0 0 0,1 0 0 0 0,-1-1 0 0 0,0 1 0 0 0,1-1 0 0 0,-1 0 0 0 0,6-2 0 0 0,-9 2-123 0 0,-1-15-134 0 0,0 10-67 0 0,-1 0-1 0 0,0 1 0 0 0,-1-1 1 0 0,1 0-1 0 0,-4-5 1 0 0,-1-11 7 0 0,-10-23 141 0 0,-5-24-73 0 0,19 60-59 0 0,-8-16 46 0 0,4 14-49 0 0,-19-42-1469 0 0,19 48-1019 0 0,3 0 1098 0 0</inkml:trace>
</inkml:ink>
</file>

<file path=ppt/ink/ink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6-27T03:48:20.51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 1 832 0 0,'0'0'7173'0'0,"-2"14"-6577"0"0,2 5 58 0 0,-1 0-224 0 0,1 0-1 0 0,1-1 0 0 0,1 1 0 0 0,0 0 1 0 0,10 34-1 0 0,-10-49-327 0 0,1 1 0 0 0,-1-1-1 0 0,1 1 1 0 0,0-1 0 0 0,0 0 0 0 0,1 0 0 0 0,-1-1-1 0 0,1 1 1 0 0,0 0 0 0 0,0-1 0 0 0,0 0 0 0 0,0 0-1 0 0,1 0 1 0 0,4 1 0 0 0,-7-3-69 0 0,2-1 27 0 0,2 1-46 0 0,-1-1 1 0 0,0-1 0 0 0,0 1-1 0 0,1-1 1 0 0,-1 0 0 0 0,0 0-1 0 0,0-1 1 0 0,0 1 0 0 0,0-1 0 0 0,0 0-1 0 0,-1 0 1 0 0,1-1 0 0 0,0 0-1 0 0,-1 1 1 0 0,0-2 0 0 0,0 1 0 0 0,0 0-1 0 0,6-7 1 0 0,-6 5 0 0 0,0 1 1 0 0,-1-1-1 0 0,0 0 0 0 0,0 0 1 0 0,0 0-1 0 0,-1 0 0 0 0,0-1 1 0 0,0 1-1 0 0,0 0 0 0 0,0-1 1 0 0,-1 0-1 0 0,0 1 0 0 0,0-8 1 0 0,-1 11-14 0 0,-9 12-15 0 0,-19 149 730 0 0,20-112-1245 0 0,8-43 117 0 0,-1-1-1 0 0,1 1 1 0 0,-1-1 0 0 0,0 1 0 0 0,0-1 0 0 0,0 1 0 0 0,0-1 0 0 0,0 0 0 0 0,-1 0 0 0 0,-3 6 0 0 0</inkml:trace>
</inkml:ink>
</file>

<file path=ppt/ink/ink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6-27T03:48:20.84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6 1444 0 0,'0'0'198'0'0,"1"-1"-1"0"0,-1 1 1 0 0,1-1-1 0 0,-1 1 1 0 0,1-1 0 0 0,-1 1-1 0 0,1 0 1 0 0,0-1-1 0 0,-1 1 1 0 0,1 0 0 0 0,0-1-1 0 0,-1 1 1 0 0,1 0-1 0 0,-1 0 1 0 0,1 0-1 0 0,0-1 1 0 0,0 1 0 0 0,-1 0-1 0 0,1 0 1 0 0,0 0-1 0 0,-1 0 1 0 0,1 0-1 0 0,0 0 1 0 0,-1 1 0 0 0,1-1-1 0 0,0 0 1 0 0,1 1-38 0 0,-1 0 0 0 0,0-1 1 0 0,0 1-1 0 0,0 0 0 0 0,-1 0 1 0 0,1 0-1 0 0,0 0 0 0 0,0 0 1 0 0,0 0-1 0 0,-1 0 0 0 0,1 0 1 0 0,0 0-1 0 0,0 2 0 0 0,2 5 183 0 0,0 0 1 0 0,-1 0-1 0 0,2 12 0 0 0,-3-19-183 0 0,8 63 1189 0 0,-2 1 1 0 0,-3-1 0 0 0,-7 105-1 0 0,-3-121-980 0 0,1-12-2802 0 0,3-13-4097 0 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6-27T03:48:01.23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5 130 804 0 0,'0'0'1692'0'0,"-2"-2"-979"0"0,-5-6-123 0 0,5 6 22 0 0,1 2-516 0 0,0-1 0 0 0,0 0 0 0 0,0 0 0 0 0,1 0-1 0 0,-1 1 1 0 0,0-1 0 0 0,0 0 0 0 0,1 0 0 0 0,-1 0 0 0 0,1 0 0 0 0,-1 0 0 0 0,1 0-1 0 0,-1 0 1 0 0,1 0 0 0 0,0-1 0 0 0,-1 1 0 0 0,1 0 0 0 0,0 0 0 0 0,0-2-1 0 0,-1 0 74 0 0,1-1 0 0 0,-1 1 0 0 0,1 0-1 0 0,0 0 1 0 0,0-1 0 0 0,1-6-1 0 0,1 6-89 0 0,0-1 0 0 0,0 1 0 0 0,1-1 0 0 0,-1 1 1 0 0,1 0-1 0 0,1 0 0 0 0,-1 0 0 0 0,0 0 0 0 0,1 0 0 0 0,0 1 0 0 0,0 0 0 0 0,6-5 0 0 0,-7 7-73 0 0,-1-1 0 0 0,1 1 1 0 0,0 0-1 0 0,0 0 0 0 0,0 0 0 0 0,0 0 1 0 0,0 0-1 0 0,0 1 0 0 0,0-1 1 0 0,5 1-1 0 0,-5-1 2 0 0,2 1-7 0 0,0 0 0 0 0,0 1-1 0 0,0-1 1 0 0,0 1 0 0 0,1 0-1 0 0,-1 0 1 0 0,0 0 0 0 0,-1 1 0 0 0,1-1-1 0 0,0 1 1 0 0,0 1 0 0 0,-1-1-1 0 0,6 4 1 0 0,-5-2 6 0 0,1-1 0 0 0,-1 1 0 0 0,-1 0 0 0 0,1 1-1 0 0,-1-1 1 0 0,0 1 0 0 0,0 0 0 0 0,0 0 0 0 0,0 0 0 0 0,-1 0 0 0 0,0 1-1 0 0,0-1 1 0 0,0 1 0 0 0,-1 0 0 0 0,0 0 0 0 0,0 0 0 0 0,-1 0 0 0 0,1 0-1 0 0,-1 0 1 0 0,-1 0 0 0 0,1 1 0 0 0,-1-1 0 0 0,0 0 0 0 0,-2 12-1 0 0,0-2 65 0 0,-2 0 0 0 0,0 0 0 0 0,-1-1 0 0 0,0 0 0 0 0,-2 0 0 0 0,1 0 0 0 0,-2-1 0 0 0,-14 22 0 0 0,2-7 212 0 0,5-7 402 0 0,-23 41-1 0 0,38-62-651 0 0,0 0 1 0 0,-1-1-1 0 0,1 1 0 0 0,0 0 0 0 0,0-1 0 0 0,-1 1 0 0 0,1 0 1 0 0,0 0-1 0 0,0-1 0 0 0,0 1 0 0 0,0 0 0 0 0,0 0 0 0 0,0-1 0 0 0,0 1 1 0 0,0 0-1 0 0,0 0 0 0 0,0-1 0 0 0,0 1 0 0 0,1 0 0 0 0,-1 0 0 0 0,0-1 1 0 0,0 1-1 0 0,1 0 0 0 0,-1-1 0 0 0,1 2 0 0 0,0-1 19 0 0,1 0 1 0 0,-1 0-1 0 0,0 0 0 0 0,0 0 0 0 0,1 0 1 0 0,-1 0-1 0 0,1-1 0 0 0,-1 1 0 0 0,0 0 1 0 0,1-1-1 0 0,2 1 0 0 0,4 1 83 0 0,0-1-1 0 0,1 0 1 0 0,11 0-1 0 0,-16-1-138 0 0,79 0 305 0 0,108-13 1 0 0,-156 13-459 0 0,-32 0 7 0 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6-27T03:48:01.57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2 1724 0 0,'5'-12'11864'0'0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6-27T03:48:02.03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9 17 616 0 0,'-3'-1'1808'0'0,"-5"0"-727"0"0,-9-4 5745 0 0,32 3-7137 0 0,163-6 1163 0 0,-135 8-685 0 0,0 2-1 0 0,50 9 1 0 0,-88-11-47 0 0,0 1 0 0 0,0 1 0 0 0,-1-1 0 0 0,1 1 1 0 0,0 0-1 0 0,-1 0 0 0 0,1 0 0 0 0,-1 0 0 0 0,0 1 1 0 0,0 0-1 0 0,0 0 0 0 0,0 0 0 0 0,0 0 0 0 0,0 1 1 0 0,-1-1-1 0 0,0 1 0 0 0,0 0 0 0 0,5 8 0 0 0,-1 1 250 0 0,-1 1-1 0 0,-1 0 0 0 0,0 0 0 0 0,5 27 0 0 0,-9-34-307 0 0,21 143 1176 0 0,-10-53-849 0 0,-1-6-313 0 0,2 13-4725 0 0,-11-69-2478 0 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6-27T03:48:02.36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1 95 1788 0 0,'-2'-1'3494'0'0,"-7"-7"-1171"0"0,10 6-2102 0 0,-1 0 1 0 0,1 1 0 0 0,0-1 0 0 0,0 1-1 0 0,-1-1 1 0 0,1 1 0 0 0,0-1 0 0 0,0 1-1 0 0,1 0 1 0 0,-1-1 0 0 0,0 1-1 0 0,3-2 1 0 0,-4 3-168 0 0,8-6 204 0 0,1 0-1 0 0,0 1 1 0 0,0 0-1 0 0,0 0 1 0 0,0 1 0 0 0,1 0-1 0 0,-1 1 1 0 0,15-3 0 0 0,8-1-624 0 0,41-1-1 0 0,-22 3-2150 0 0,-48 4 1757 0 0,15 1-2449 0 0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6-27T03:48:02.70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65 10 1052 0 0,'3'-10'8570'0'0,"-7"16"-8390"0"0,-1 0 0 0 0,1 0 0 0 0,1 1 0 0 0,0-1 0 0 0,0 1 0 0 0,0 0 0 0 0,0 0 0 0 0,1 0 0 0 0,0 0 0 0 0,1 0 0 0 0,0 0 0 0 0,0 1 0 0 0,0-1 0 0 0,1 13 0 0 0,1-3-61 0 0,1-1 1 0 0,0 1-1 0 0,1-1 1 0 0,0 0 0 0 0,10 26-1 0 0,-8-31-35 0 0,0-1 0 0 0,1 1 0 0 0,0-1-1 0 0,1 0 1 0 0,0-1 0 0 0,16 17 0 0 0,-19-20-41 0 0,6-2-7 0 0,7-1 66 0 0,-15-2-96 0 0,1 0 0 0 0,-1-1 1 0 0,0 0-1 0 0,0 1 1 0 0,0-1-1 0 0,0 0 1 0 0,1 0-1 0 0,-1 0 0 0 0,0-1 1 0 0,0 1-1 0 0,0 0 1 0 0,0-1-1 0 0,1 1 1 0 0,-1-1-1 0 0,0 0 0 0 0,0 0 1 0 0,0 0-1 0 0,0 0 1 0 0,-1 0-1 0 0,1 0 1 0 0,0-1-1 0 0,0 1 0 0 0,-1 0 1 0 0,1-1-1 0 0,-1 1 1 0 0,1-1-1 0 0,-1 0 1 0 0,1 0-1 0 0,-1 1 0 0 0,0-1 1 0 0,0 0-1 0 0,0 0 1 0 0,0 0-1 0 0,0 0 0 0 0,-1 0 1 0 0,1 0-1 0 0,0 0 1 0 0,-1-4-1 0 0,2-2 14 0 0,-1 0 1 0 0,0 0-1 0 0,-1 0 0 0 0,0 0 0 0 0,0 0 1 0 0,0 0-1 0 0,-1 0 0 0 0,-4-15 0 0 0,2 15-16 0 0,0 0-1 0 0,0 1 1 0 0,-1-1 0 0 0,0 1-1 0 0,0 0 1 0 0,-1 0-1 0 0,0 0 1 0 0,0 1-1 0 0,-1 0 1 0 0,-9-8 0 0 0,2 2-726 0 0,-2 1 0 0 0,0 0 1 0 0,-25-13-1 0 0,36 23 290 0 0,0-1-1 0 0,0 1 0 0 0,0 0 0 0 0,0 0 1 0 0,0 1-1 0 0,0-1 0 0 0,-5 1 0 0 0,5-1 95 0 0,0 1-1020 0 0,-20-2-2472 0 0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6-27T03:48:03.18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7 18 1504 0 0,'21'-14'5837'0'0,"-21"13"-5792"0"0,1 1-1 0 0,-1 0 1 0 0,0-1-1 0 0,1 1 1 0 0,-1 0-1 0 0,0 0 1 0 0,1-1-1 0 0,-1 1 1 0 0,0 0-1 0 0,1 0 1 0 0,-1 0-1 0 0,0 0 1 0 0,1-1-1 0 0,-1 1 1 0 0,1 0-1 0 0,-1 0 1 0 0,0 0-1 0 0,1 0 1 0 0,-1 0-1 0 0,1 0 1 0 0,-1 0-1 0 0,1 0 0 0 0,-1 0 1 0 0,0 0-1 0 0,1 1 1 0 0,0-1-1 0 0,-1 1 17 0 0,1-1-1 0 0,-1 1 0 0 0,0 0 1 0 0,1 0-1 0 0,-1-1 0 0 0,0 1 1 0 0,0 0-1 0 0,1 0 0 0 0,-1 0 0 0 0,0 0 1 0 0,0-1-1 0 0,0 1 0 0 0,0 0 1 0 0,0 0-1 0 0,0 0 0 0 0,0 0 1 0 0,-1-1-1 0 0,1 2 0 0 0,-7 34 590 0 0,-1-1 0 0 0,-2 0 0 0 0,-15 34 0 0 0,-5 16 77 0 0,20-54-391 0 0,2 1 0 0 0,-9 65 0 0 0,15-86-288 0 0,2 1-1 0 0,0-1 1 0 0,0 0 0 0 0,1 1-1 0 0,0-1 1 0 0,1 0-1 0 0,1 0 1 0 0,-1 0-1 0 0,2 0 1 0 0,-1 0-1 0 0,2-1 1 0 0,7 15-1 0 0,-9-21-33 0 0,0 0 0 0 0,0 1-1 0 0,1-1 1 0 0,0 0-1 0 0,0-1 1 0 0,0 1-1 0 0,0-1 1 0 0,0 0 0 0 0,1 0-1 0 0,-1 0 1 0 0,1 0-1 0 0,0-1 1 0 0,0 0 0 0 0,0 0-1 0 0,0 0 1 0 0,0-1-1 0 0,0 1 1 0 0,1-1 0 0 0,-1-1-1 0 0,0 1 1 0 0,1-1-1 0 0,-1 0 1 0 0,1 0 0 0 0,-1 0-1 0 0,10-3 1 0 0,-13 3-8 0 0,0-1-1 0 0,1 0 1 0 0,-1 0 0 0 0,-1 0 0 0 0,1 0 0 0 0,0 0 0 0 0,0 0 0 0 0,0 0-1 0 0,0-1 1 0 0,-1 1 0 0 0,1 0 0 0 0,-1-1 0 0 0,1 0 0 0 0,-1 1-1 0 0,0-1 1 0 0,1 0 0 0 0,-1 0 0 0 0,0 0 0 0 0,0 0 0 0 0,0 0 0 0 0,0 0-1 0 0,-1 0 1 0 0,1 0 0 0 0,-1 0 0 0 0,1 0 0 0 0,-1 0 0 0 0,1-4 0 0 0,-1-1-2 0 0,0 0 0 0 0,0 0 1 0 0,-1 0-1 0 0,0 0 1 0 0,0 1-1 0 0,-4-13 0 0 0,2 12-40 0 0,0 1-1 0 0,0-1 1 0 0,0 1-1 0 0,-1 0 1 0 0,0 0-1 0 0,0 1 1 0 0,0-1-1 0 0,-1 1 1 0 0,0 0-1 0 0,0 0 1 0 0,0 0-1 0 0,-12-7 1 0 0,3 4-1012 0 0,1 0 0 0 0,-2 0 0 0 0,1 1 0 0 0,-22-7 1 0 0,20 10-735 0 0,5 3-996 0 0,-2 0 266 0 0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6-27T03:48:03.68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79 6 952 0 0,'0'0'1418'0'0,"2"-1"-371"0"0,11-3 2411 0 0,-13 6-2970 0 0,-2 3-290 0 0,1 0 0 0 0,-1 1 0 0 0,0-1-1 0 0,0-1 1 0 0,-1 1 0 0 0,1 0 0 0 0,-5 5 0 0 0,-28 37 511 0 0,24-32-498 0 0,-80 91 1016 0 0,52-62-250 0 0,-39 58 0 0 0,75-98-897 0 0,1 0 0 0 0,0 1-1 0 0,0-1 1 0 0,1 1 0 0 0,-3 7-1 0 0,0 2 125 0 0,4-12-155 0 0,0 0 0 0 0,0 0 0 0 0,0 0 1 0 0,0 0-1 0 0,0 1 0 0 0,0-1 1 0 0,0 0-1 0 0,1 0 0 0 0,-1 0 0 0 0,1 0 1 0 0,-1 0-1 0 0,3 3 0 0 0,10 21 536 0 0,0-8-179 0 0,1-2 1 0 0,0 0-1 0 0,2 0 0 0 0,-1-1 0 0 0,34 23 0 0 0,-22-17 217 0 0,36 26 485 0 0,-62-45-1068 0 0,7 2-1 0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56B78B0-91CE-4DD1-9D2F-CBA14AEB7068}" type="datetimeFigureOut">
              <a:rPr lang="en-US" smtClean="0"/>
              <a:t>7/24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613F25-6AE9-4A53-8515-0F801D92FE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1362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khanacademy.org/math/ap-statistics/random-variables-ap/discrete-random-variables/v/discrete-probability-distribution" TargetMode="Externa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hlinkClick r:id="rId3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426FB1-3AB0-4AFE-AF64-20CFD1566FD6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09934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rgbClr val="595959"/>
                </a:solidFill>
                <a:latin typeface="Arial" panose="020B0604020202020204" pitchFamily="34" charset="0"/>
              </a:rPr>
              <a:t>Probability of two events happening together –</a:t>
            </a:r>
            <a:r>
              <a:rPr lang="en-US" sz="1200" dirty="0">
                <a:solidFill>
                  <a:srgbClr val="595959"/>
                </a:solidFill>
                <a:latin typeface="Arial" panose="020B0604020202020204" pitchFamily="34" charset="0"/>
              </a:rPr>
              <a:t> First event X second event – P(A) X P(B) (only if these are independent events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613F25-6AE9-4A53-8515-0F801D92FE4A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20947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613F25-6AE9-4A53-8515-0F801D92FE4A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73750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613F25-6AE9-4A53-8515-0F801D92FE4A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61370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613F25-6AE9-4A53-8515-0F801D92FE4A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42295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statisticsbyjim.com/hypothesis-testing/degrees-freedom-statistics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613F25-6AE9-4A53-8515-0F801D92FE4A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91472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398136-776F-4487-993C-4B03414450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A2343E0-0AE3-41AF-9AA8-37B7ADA3473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C4B81E7-D56A-451A-BAF9-10CAA46232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B19F4C-6CE3-432D-8607-2409DA70753E}" type="datetimeFigureOut">
              <a:rPr lang="en-US" smtClean="0"/>
              <a:t>7/2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B0E144-CBFF-4570-A684-7FDD6A8AEF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F98953-E2CD-454F-A275-A66E70601A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33B4A6-1DFD-41DC-8F2E-93BEAC7589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12684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5F3A66-86F0-45E9-951A-98CA2904AD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5F5D875-1450-4AA0-897E-658CD73E334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4296CF5-EBB7-41BF-BE02-1C52193A14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B19F4C-6CE3-432D-8607-2409DA70753E}" type="datetimeFigureOut">
              <a:rPr lang="en-US" smtClean="0"/>
              <a:t>7/2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43A6EAB-4F2D-462B-9915-B37302EE17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E1DB76-C380-4187-A3A5-8CAD00E00B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33B4A6-1DFD-41DC-8F2E-93BEAC7589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54659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D058340-45BE-4E06-A524-A352FBEB289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33E5C7F-82AF-4D84-B403-DB88C13472B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F7C9B6-7304-472F-84FF-AC7C283E25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B19F4C-6CE3-432D-8607-2409DA70753E}" type="datetimeFigureOut">
              <a:rPr lang="en-US" smtClean="0"/>
              <a:t>7/2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3C6AB2-66BA-4A03-8F77-0E5A090304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5B5E857-F8D4-4D26-A04F-4851F17A7F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33B4A6-1DFD-41DC-8F2E-93BEAC7589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64078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w/ Sub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524" y="6784848"/>
            <a:ext cx="12188952" cy="73152"/>
          </a:xfrm>
          <a:prstGeom prst="rect">
            <a:avLst/>
          </a:prstGeom>
          <a:gradFill flip="none" rotWithShape="1">
            <a:gsLst>
              <a:gs pos="0">
                <a:srgbClr val="0092D4"/>
              </a:gs>
              <a:gs pos="89000">
                <a:srgbClr val="003181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latin typeface="PayPal Sans Big Medium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Font typeface="+mj-lt"/>
              <a:buNone/>
              <a:defRPr sz="1600">
                <a:solidFill>
                  <a:schemeClr val="accent1"/>
                </a:solidFill>
              </a:defRPr>
            </a:lvl1pPr>
            <a:lvl2pPr marL="287331" indent="-228594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bg2">
                    <a:lumMod val="75000"/>
                  </a:schemeClr>
                </a:solidFill>
              </a:defRPr>
            </a:lvl2pPr>
            <a:lvl3pPr marL="514338" indent="-228594"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2">
                    <a:lumMod val="75000"/>
                  </a:schemeClr>
                </a:solidFill>
              </a:defRPr>
            </a:lvl3pPr>
            <a:lvl4pPr marL="739756" indent="-228594"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2">
                    <a:lumMod val="75000"/>
                  </a:schemeClr>
                </a:solidFill>
              </a:defRPr>
            </a:lvl4pPr>
            <a:lvl5pPr marL="974701" indent="-228594"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2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664567" y="6356350"/>
            <a:ext cx="4114800" cy="311151"/>
          </a:xfrm>
        </p:spPr>
        <p:txBody>
          <a:bodyPr/>
          <a:lstStyle>
            <a:lvl1pPr marL="0" algn="l" defTabSz="914377" rtl="0" eaLnBrk="1" latinLnBrk="0" hangingPunct="1">
              <a:defRPr lang="en-US" sz="800" kern="1200" smtClean="0">
                <a:solidFill>
                  <a:schemeClr val="tx2">
                    <a:lumMod val="60000"/>
                    <a:lumOff val="40000"/>
                  </a:schemeClr>
                </a:solidFill>
                <a:latin typeface="PayPal Sans Big Medium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©2018 PayPal Inc. Confidential and proprietary.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07CF5707-6B01-4E28-B52C-5F626EA6C56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503239" y="851808"/>
            <a:ext cx="11188700" cy="479425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2">
                    <a:lumMod val="75000"/>
                  </a:schemeClr>
                </a:solidFill>
                <a:latin typeface="PayPal Sans Big Medium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502921" y="6353176"/>
            <a:ext cx="1007179" cy="245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8806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60">
          <p15:clr>
            <a:srgbClr val="FBAE40"/>
          </p15:clr>
        </p15:guide>
        <p15:guide id="2" orient="horz" pos="805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770725-7425-4E14-BD13-F47D19F46C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C614C6-7728-4134-8902-45EBE147CFD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DC2BAC-6789-4917-A575-6ADAB82AA8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B19F4C-6CE3-432D-8607-2409DA70753E}" type="datetimeFigureOut">
              <a:rPr lang="en-US" smtClean="0"/>
              <a:t>7/2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2D22A0-C22B-4B83-AACC-615D3D4882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000209-814A-41F8-B866-F60AD0F846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33B4A6-1DFD-41DC-8F2E-93BEAC7589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69834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351DE1-17B0-46CA-AF6C-F8DCA7F961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4FE23A-1779-4F87-8321-7BD2818D1D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18B16D-FC61-4EB6-835F-E12E6245C7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B19F4C-6CE3-432D-8607-2409DA70753E}" type="datetimeFigureOut">
              <a:rPr lang="en-US" smtClean="0"/>
              <a:t>7/2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B30579-B775-43CE-93F2-84682399E5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F7CA6A-D15A-4079-8525-03E627DD93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33B4A6-1DFD-41DC-8F2E-93BEAC7589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0949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5751EF-89A1-4A72-A2D7-18CF3CB942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5BDBED-1A1C-426C-A6EE-D95E0448F1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A9ADD10-D138-4906-9EE9-FC62619A565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5BE014C-241D-4F2B-991E-22A1F37567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B19F4C-6CE3-432D-8607-2409DA70753E}" type="datetimeFigureOut">
              <a:rPr lang="en-US" smtClean="0"/>
              <a:t>7/24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3CB64C5-B51D-4DC9-83EA-3167EEC2FC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C329129-6C88-4962-820D-49AFC25DA3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33B4A6-1DFD-41DC-8F2E-93BEAC7589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49721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05179F-64B1-4F09-ACA1-8167EB7E2F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D5A1886-CFE6-4BE5-90B4-AC4E0E368F0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1364600-28E6-4B14-A082-880A9955CE6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FE56395-6BC9-40CE-8088-FEF655CBC60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D964E67-172F-4411-9FD2-48F853C45AA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2C0963D-6426-40E7-8772-F6208A13F5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B19F4C-6CE3-432D-8607-2409DA70753E}" type="datetimeFigureOut">
              <a:rPr lang="en-US" smtClean="0"/>
              <a:t>7/24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46BB08D-CA86-4E47-BFC8-0959FF3257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F353E-6629-4D3F-B902-0C56832151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33B4A6-1DFD-41DC-8F2E-93BEAC7589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45874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526638-106C-4739-9354-2F27FE4495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AF7D4-9B85-4B0D-9A23-DDFED0B809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B19F4C-6CE3-432D-8607-2409DA70753E}" type="datetimeFigureOut">
              <a:rPr lang="en-US" smtClean="0"/>
              <a:t>7/24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E5C38B7-0C25-48D8-A2CF-435EBF3BC4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119C83-6C9C-4C48-A5B6-5997FC64E6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33B4A6-1DFD-41DC-8F2E-93BEAC7589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34801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4DE26E2-0EA3-4FE8-B5A1-FB35911320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B19F4C-6CE3-432D-8607-2409DA70753E}" type="datetimeFigureOut">
              <a:rPr lang="en-US" smtClean="0"/>
              <a:t>7/24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1BEDE6F-EE1C-4D1C-919B-183A4C043C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A440F2-9C06-47AE-BDA0-2191F97C8E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33B4A6-1DFD-41DC-8F2E-93BEAC7589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64457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712907-AB2F-4253-8C15-DF61B7690D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81A2F-2419-4CE9-AB65-D1F1FD88D2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53F259-1AF5-4460-9D8D-0FB524AE5AC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AD787BC-3E32-4173-BDAD-15114BDC4B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B19F4C-6CE3-432D-8607-2409DA70753E}" type="datetimeFigureOut">
              <a:rPr lang="en-US" smtClean="0"/>
              <a:t>7/24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3494781-CA9F-4561-B15E-688653527C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8AE8BF-E7DB-476F-8FA5-0794F8C1D6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33B4A6-1DFD-41DC-8F2E-93BEAC7589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01347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3F9E15-6187-4EEB-A32A-6E10C8D85A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06CA019-C371-41C1-BA3A-8A5DBFB0634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4092BFB-8BBD-42B6-B8C6-8E50749975C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4E1F4E9-1ABB-4877-8E70-8BADD6FF3D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B19F4C-6CE3-432D-8607-2409DA70753E}" type="datetimeFigureOut">
              <a:rPr lang="en-US" smtClean="0"/>
              <a:t>7/24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B20DB2-1965-4813-B1C3-EC799E245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04755B8-1DE8-4805-A269-C1788FCB10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33B4A6-1DFD-41DC-8F2E-93BEAC7589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15873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9E4868E-51F6-4436-848A-82B081CAEA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8462386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9E4868E-51F6-4436-848A-82B081CAEA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7D12310-5C94-45F0-8C85-62F71D04DF44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49AFE68-E22E-48BD-AF92-77034F1A4F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04A74D-4301-458E-8B82-8B0E8F8F75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BA4BAD8-9046-475A-96A1-398CD1E29D0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B19F4C-6CE3-432D-8607-2409DA70753E}" type="datetimeFigureOut">
              <a:rPr lang="en-US" smtClean="0"/>
              <a:t>7/2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6CF212-2BD5-4D13-BCF6-5D93846DE9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282410-FF09-4F96-8CA7-80D263C621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833B4A6-1DFD-41DC-8F2E-93BEAC7589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27341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3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2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2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2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8.pn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2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0.pn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7" Type="http://schemas.openxmlformats.org/officeDocument/2006/relationships/image" Target="../media/image3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7" Type="http://schemas.openxmlformats.org/officeDocument/2006/relationships/image" Target="../media/image3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2.emf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oleObject" Target="../embeddings/oleObject20.bin"/><Relationship Id="rId7" Type="http://schemas.openxmlformats.org/officeDocument/2006/relationships/image" Target="../media/image4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2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Relationship Id="rId5" Type="http://schemas.openxmlformats.org/officeDocument/2006/relationships/image" Target="../media/image43.png"/><Relationship Id="rId4" Type="http://schemas.openxmlformats.org/officeDocument/2006/relationships/image" Target="../media/image32.emf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oleObject" Target="../embeddings/oleObject22.bin"/><Relationship Id="rId7" Type="http://schemas.openxmlformats.org/officeDocument/2006/relationships/image" Target="../media/image4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Relationship Id="rId6" Type="http://schemas.openxmlformats.org/officeDocument/2006/relationships/image" Target="../media/image45.png"/><Relationship Id="rId11" Type="http://schemas.openxmlformats.org/officeDocument/2006/relationships/image" Target="../media/image50.png"/><Relationship Id="rId5" Type="http://schemas.openxmlformats.org/officeDocument/2006/relationships/image" Target="../media/image44.png"/><Relationship Id="rId10" Type="http://schemas.openxmlformats.org/officeDocument/2006/relationships/image" Target="../media/image49.png"/><Relationship Id="rId4" Type="http://schemas.openxmlformats.org/officeDocument/2006/relationships/image" Target="../media/image32.emf"/><Relationship Id="rId9" Type="http://schemas.openxmlformats.org/officeDocument/2006/relationships/image" Target="../media/image48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7" Type="http://schemas.openxmlformats.org/officeDocument/2006/relationships/image" Target="../media/image5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32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2.xml"/><Relationship Id="rId5" Type="http://schemas.openxmlformats.org/officeDocument/2006/relationships/image" Target="../media/image54.png"/><Relationship Id="rId4" Type="http://schemas.openxmlformats.org/officeDocument/2006/relationships/image" Target="../media/image32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3.xml"/><Relationship Id="rId5" Type="http://schemas.openxmlformats.org/officeDocument/2006/relationships/image" Target="../media/image55.png"/><Relationship Id="rId4" Type="http://schemas.openxmlformats.org/officeDocument/2006/relationships/image" Target="../media/image32.emf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oleObject" Target="../embeddings/oleObject26.bin"/><Relationship Id="rId7" Type="http://schemas.openxmlformats.org/officeDocument/2006/relationships/image" Target="../media/image5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4.xml"/><Relationship Id="rId6" Type="http://schemas.openxmlformats.org/officeDocument/2006/relationships/image" Target="../media/image56.png"/><Relationship Id="rId5" Type="http://schemas.openxmlformats.org/officeDocument/2006/relationships/image" Target="../media/image45.png"/><Relationship Id="rId4" Type="http://schemas.openxmlformats.org/officeDocument/2006/relationships/image" Target="../media/image32.emf"/><Relationship Id="rId9" Type="http://schemas.openxmlformats.org/officeDocument/2006/relationships/image" Target="../media/image59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7" Type="http://schemas.openxmlformats.org/officeDocument/2006/relationships/image" Target="../media/image4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5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4" Type="http://schemas.openxmlformats.org/officeDocument/2006/relationships/image" Target="../media/image32.emf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oleObject" Target="../embeddings/oleObject28.bin"/><Relationship Id="rId7" Type="http://schemas.openxmlformats.org/officeDocument/2006/relationships/image" Target="../media/image6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6.xml"/><Relationship Id="rId6" Type="http://schemas.openxmlformats.org/officeDocument/2006/relationships/image" Target="../media/image62.png"/><Relationship Id="rId5" Type="http://schemas.openxmlformats.org/officeDocument/2006/relationships/image" Target="../media/image45.png"/><Relationship Id="rId4" Type="http://schemas.openxmlformats.org/officeDocument/2006/relationships/image" Target="../media/image32.emf"/><Relationship Id="rId9" Type="http://schemas.openxmlformats.org/officeDocument/2006/relationships/image" Target="../media/image59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7" Type="http://schemas.openxmlformats.org/officeDocument/2006/relationships/image" Target="../media/image6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7.xml"/><Relationship Id="rId6" Type="http://schemas.openxmlformats.org/officeDocument/2006/relationships/image" Target="../media/image66.png"/><Relationship Id="rId5" Type="http://schemas.openxmlformats.org/officeDocument/2006/relationships/image" Target="../media/image65.png"/><Relationship Id="rId4" Type="http://schemas.openxmlformats.org/officeDocument/2006/relationships/image" Target="../media/image32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8.xml"/><Relationship Id="rId5" Type="http://schemas.openxmlformats.org/officeDocument/2006/relationships/image" Target="../media/image68.png"/><Relationship Id="rId4" Type="http://schemas.openxmlformats.org/officeDocument/2006/relationships/image" Target="../media/image32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8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9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32.emf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3" Type="http://schemas.openxmlformats.org/officeDocument/2006/relationships/oleObject" Target="../embeddings/oleObject32.bin"/><Relationship Id="rId7" Type="http://schemas.openxmlformats.org/officeDocument/2006/relationships/image" Target="../media/image71.png"/><Relationship Id="rId12" Type="http://schemas.openxmlformats.org/officeDocument/2006/relationships/image" Target="../media/image7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0.xml"/><Relationship Id="rId6" Type="http://schemas.openxmlformats.org/officeDocument/2006/relationships/image" Target="../media/image70.png"/><Relationship Id="rId11" Type="http://schemas.openxmlformats.org/officeDocument/2006/relationships/image" Target="../media/image75.png"/><Relationship Id="rId5" Type="http://schemas.openxmlformats.org/officeDocument/2006/relationships/image" Target="../media/image69.png"/><Relationship Id="rId10" Type="http://schemas.openxmlformats.org/officeDocument/2006/relationships/image" Target="../media/image74.png"/><Relationship Id="rId4" Type="http://schemas.openxmlformats.org/officeDocument/2006/relationships/image" Target="../media/image32.emf"/><Relationship Id="rId9" Type="http://schemas.openxmlformats.org/officeDocument/2006/relationships/image" Target="../media/image73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png"/><Relationship Id="rId13" Type="http://schemas.openxmlformats.org/officeDocument/2006/relationships/image" Target="../media/image85.png"/><Relationship Id="rId3" Type="http://schemas.openxmlformats.org/officeDocument/2006/relationships/oleObject" Target="../embeddings/oleObject33.bin"/><Relationship Id="rId7" Type="http://schemas.openxmlformats.org/officeDocument/2006/relationships/image" Target="../media/image79.png"/><Relationship Id="rId12" Type="http://schemas.openxmlformats.org/officeDocument/2006/relationships/image" Target="../media/image84.png"/><Relationship Id="rId17" Type="http://schemas.openxmlformats.org/officeDocument/2006/relationships/image" Target="../media/image89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88.png"/><Relationship Id="rId1" Type="http://schemas.openxmlformats.org/officeDocument/2006/relationships/tags" Target="../tags/tag51.xml"/><Relationship Id="rId6" Type="http://schemas.openxmlformats.org/officeDocument/2006/relationships/image" Target="../media/image78.png"/><Relationship Id="rId11" Type="http://schemas.openxmlformats.org/officeDocument/2006/relationships/image" Target="../media/image83.png"/><Relationship Id="rId5" Type="http://schemas.openxmlformats.org/officeDocument/2006/relationships/image" Target="../media/image77.png"/><Relationship Id="rId15" Type="http://schemas.openxmlformats.org/officeDocument/2006/relationships/image" Target="../media/image87.png"/><Relationship Id="rId10" Type="http://schemas.openxmlformats.org/officeDocument/2006/relationships/image" Target="../media/image82.png"/><Relationship Id="rId4" Type="http://schemas.openxmlformats.org/officeDocument/2006/relationships/image" Target="../media/image32.emf"/><Relationship Id="rId9" Type="http://schemas.openxmlformats.org/officeDocument/2006/relationships/image" Target="../media/image81.png"/><Relationship Id="rId14" Type="http://schemas.openxmlformats.org/officeDocument/2006/relationships/image" Target="../media/image86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9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2.xml"/><Relationship Id="rId6" Type="http://schemas.openxmlformats.org/officeDocument/2006/relationships/image" Target="../media/image90.png"/><Relationship Id="rId5" Type="http://schemas.openxmlformats.org/officeDocument/2006/relationships/image" Target="../media/image32.emf"/><Relationship Id="rId4" Type="http://schemas.openxmlformats.org/officeDocument/2006/relationships/oleObject" Target="../embeddings/oleObject34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7" Type="http://schemas.openxmlformats.org/officeDocument/2006/relationships/image" Target="../media/image9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3.xml"/><Relationship Id="rId6" Type="http://schemas.openxmlformats.org/officeDocument/2006/relationships/hyperlink" Target="https://statisticsbyjim.com/glossary/hypothesis-tests/" TargetMode="External"/><Relationship Id="rId5" Type="http://schemas.openxmlformats.org/officeDocument/2006/relationships/hyperlink" Target="https://statisticsbyjim.com/glossary/categorical-variables/" TargetMode="External"/><Relationship Id="rId4" Type="http://schemas.openxmlformats.org/officeDocument/2006/relationships/image" Target="../media/image32.emf"/></Relationships>
</file>

<file path=ppt/slides/_rels/slide3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99.png"/><Relationship Id="rId18" Type="http://schemas.openxmlformats.org/officeDocument/2006/relationships/customXml" Target="../ink/ink6.xml"/><Relationship Id="rId26" Type="http://schemas.openxmlformats.org/officeDocument/2006/relationships/customXml" Target="../ink/ink10.xml"/><Relationship Id="rId39" Type="http://schemas.openxmlformats.org/officeDocument/2006/relationships/image" Target="../media/image112.png"/><Relationship Id="rId3" Type="http://schemas.openxmlformats.org/officeDocument/2006/relationships/oleObject" Target="../embeddings/oleObject36.bin"/><Relationship Id="rId21" Type="http://schemas.openxmlformats.org/officeDocument/2006/relationships/image" Target="../media/image103.png"/><Relationship Id="rId34" Type="http://schemas.openxmlformats.org/officeDocument/2006/relationships/customXml" Target="../ink/ink14.xml"/><Relationship Id="rId42" Type="http://schemas.openxmlformats.org/officeDocument/2006/relationships/customXml" Target="../ink/ink18.xml"/><Relationship Id="rId47" Type="http://schemas.openxmlformats.org/officeDocument/2006/relationships/image" Target="../media/image116.png"/><Relationship Id="rId7" Type="http://schemas.openxmlformats.org/officeDocument/2006/relationships/image" Target="../media/image96.png"/><Relationship Id="rId12" Type="http://schemas.openxmlformats.org/officeDocument/2006/relationships/customXml" Target="../ink/ink3.xml"/><Relationship Id="rId17" Type="http://schemas.openxmlformats.org/officeDocument/2006/relationships/image" Target="../media/image101.png"/><Relationship Id="rId25" Type="http://schemas.openxmlformats.org/officeDocument/2006/relationships/image" Target="../media/image105.png"/><Relationship Id="rId33" Type="http://schemas.openxmlformats.org/officeDocument/2006/relationships/image" Target="../media/image109.png"/><Relationship Id="rId38" Type="http://schemas.openxmlformats.org/officeDocument/2006/relationships/customXml" Target="../ink/ink16.xml"/><Relationship Id="rId46" Type="http://schemas.openxmlformats.org/officeDocument/2006/relationships/customXml" Target="../ink/ink20.xml"/><Relationship Id="rId2" Type="http://schemas.openxmlformats.org/officeDocument/2006/relationships/slideLayout" Target="../slideLayouts/slideLayout2.xml"/><Relationship Id="rId16" Type="http://schemas.openxmlformats.org/officeDocument/2006/relationships/customXml" Target="../ink/ink5.xml"/><Relationship Id="rId20" Type="http://schemas.openxmlformats.org/officeDocument/2006/relationships/customXml" Target="../ink/ink7.xml"/><Relationship Id="rId29" Type="http://schemas.openxmlformats.org/officeDocument/2006/relationships/image" Target="../media/image107.png"/><Relationship Id="rId41" Type="http://schemas.openxmlformats.org/officeDocument/2006/relationships/image" Target="../media/image113.png"/><Relationship Id="rId1" Type="http://schemas.openxmlformats.org/officeDocument/2006/relationships/tags" Target="../tags/tag54.xml"/><Relationship Id="rId6" Type="http://schemas.openxmlformats.org/officeDocument/2006/relationships/image" Target="../media/image95.png"/><Relationship Id="rId11" Type="http://schemas.openxmlformats.org/officeDocument/2006/relationships/image" Target="../media/image98.png"/><Relationship Id="rId24" Type="http://schemas.openxmlformats.org/officeDocument/2006/relationships/customXml" Target="../ink/ink9.xml"/><Relationship Id="rId32" Type="http://schemas.openxmlformats.org/officeDocument/2006/relationships/customXml" Target="../ink/ink13.xml"/><Relationship Id="rId37" Type="http://schemas.openxmlformats.org/officeDocument/2006/relationships/image" Target="../media/image111.png"/><Relationship Id="rId40" Type="http://schemas.openxmlformats.org/officeDocument/2006/relationships/customXml" Target="../ink/ink17.xml"/><Relationship Id="rId45" Type="http://schemas.openxmlformats.org/officeDocument/2006/relationships/image" Target="../media/image115.png"/><Relationship Id="rId5" Type="http://schemas.openxmlformats.org/officeDocument/2006/relationships/image" Target="../media/image94.png"/><Relationship Id="rId15" Type="http://schemas.openxmlformats.org/officeDocument/2006/relationships/image" Target="../media/image100.png"/><Relationship Id="rId23" Type="http://schemas.openxmlformats.org/officeDocument/2006/relationships/image" Target="../media/image104.png"/><Relationship Id="rId28" Type="http://schemas.openxmlformats.org/officeDocument/2006/relationships/customXml" Target="../ink/ink11.xml"/><Relationship Id="rId36" Type="http://schemas.openxmlformats.org/officeDocument/2006/relationships/customXml" Target="../ink/ink15.xml"/><Relationship Id="rId49" Type="http://schemas.openxmlformats.org/officeDocument/2006/relationships/image" Target="../media/image117.png"/><Relationship Id="rId10" Type="http://schemas.openxmlformats.org/officeDocument/2006/relationships/customXml" Target="../ink/ink2.xml"/><Relationship Id="rId19" Type="http://schemas.openxmlformats.org/officeDocument/2006/relationships/image" Target="../media/image102.png"/><Relationship Id="rId31" Type="http://schemas.openxmlformats.org/officeDocument/2006/relationships/image" Target="../media/image108.png"/><Relationship Id="rId44" Type="http://schemas.openxmlformats.org/officeDocument/2006/relationships/customXml" Target="../ink/ink19.xml"/><Relationship Id="rId4" Type="http://schemas.openxmlformats.org/officeDocument/2006/relationships/image" Target="../media/image32.emf"/><Relationship Id="rId9" Type="http://schemas.openxmlformats.org/officeDocument/2006/relationships/image" Target="../media/image97.png"/><Relationship Id="rId14" Type="http://schemas.openxmlformats.org/officeDocument/2006/relationships/customXml" Target="../ink/ink4.xml"/><Relationship Id="rId22" Type="http://schemas.openxmlformats.org/officeDocument/2006/relationships/customXml" Target="../ink/ink8.xml"/><Relationship Id="rId27" Type="http://schemas.openxmlformats.org/officeDocument/2006/relationships/image" Target="../media/image106.png"/><Relationship Id="rId30" Type="http://schemas.openxmlformats.org/officeDocument/2006/relationships/customXml" Target="../ink/ink12.xml"/><Relationship Id="rId35" Type="http://schemas.openxmlformats.org/officeDocument/2006/relationships/image" Target="../media/image110.png"/><Relationship Id="rId43" Type="http://schemas.openxmlformats.org/officeDocument/2006/relationships/image" Target="../media/image114.png"/><Relationship Id="rId48" Type="http://schemas.openxmlformats.org/officeDocument/2006/relationships/customXml" Target="../ink/ink21.xml"/><Relationship Id="rId8" Type="http://schemas.openxmlformats.org/officeDocument/2006/relationships/customXml" Target="../ink/ink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1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7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10" Type="http://schemas.openxmlformats.org/officeDocument/2006/relationships/image" Target="../media/image20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2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9B1161-04C3-42F9-8DF7-AC696C6E13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6741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9B1161-04C3-42F9-8DF7-AC696C6E1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046B1F-D452-4B4A-B036-D1A692C1698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60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14EA09-9823-40BC-A03A-FB975505B3C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>
                <a:solidFill>
                  <a:schemeClr val="accent1"/>
                </a:solidFill>
              </a:rPr>
              <a:t>Inferential Statistic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9B126B3-19B3-4B7B-90A6-BAA1B0F1C58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436562"/>
          </a:xfrm>
        </p:spPr>
        <p:txBody>
          <a:bodyPr/>
          <a:lstStyle/>
          <a:p>
            <a:r>
              <a:rPr lang="en-US" dirty="0"/>
              <a:t>Aniket Chhabra</a:t>
            </a:r>
          </a:p>
        </p:txBody>
      </p:sp>
    </p:spTree>
    <p:extLst>
      <p:ext uri="{BB962C8B-B14F-4D97-AF65-F5344CB8AC3E}">
        <p14:creationId xmlns:p14="http://schemas.microsoft.com/office/powerpoint/2010/main" val="5080824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0E70D21-FE27-4429-A74F-221226F569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9817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0E70D21-FE27-4429-A74F-221226F569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2F22FCF-EC63-4134-BFDA-9E6033E820A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D5DDBC-5D6A-4DB0-B385-6A92298F60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7109" y="180368"/>
            <a:ext cx="11842676" cy="713483"/>
          </a:xfrm>
        </p:spPr>
        <p:txBody>
          <a:bodyPr/>
          <a:lstStyle/>
          <a:p>
            <a:r>
              <a:rPr lang="en-US" sz="4400" b="0" i="0" u="none" strike="noStrike" dirty="0">
                <a:solidFill>
                  <a:schemeClr val="accent1"/>
                </a:solidFill>
                <a:effectLst/>
                <a:latin typeface="Arial" panose="020B0604020202020204" pitchFamily="34" charset="0"/>
              </a:rPr>
              <a:t>Probability Theory – Bayes Theorem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29438AB-3F7F-4380-9D91-B03C68CB621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7109" y="1034823"/>
            <a:ext cx="4712413" cy="164422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2815386-682D-4D5C-9C9E-3424E018BA2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72048" y="1034822"/>
            <a:ext cx="5627737" cy="1644226"/>
          </a:xfrm>
          <a:prstGeom prst="rect">
            <a:avLst/>
          </a:prstGeom>
        </p:spPr>
      </p:pic>
      <p:sp>
        <p:nvSpPr>
          <p:cNvPr id="8" name="Arrow: Right 7">
            <a:extLst>
              <a:ext uri="{FF2B5EF4-FFF2-40B4-BE49-F238E27FC236}">
                <a16:creationId xmlns:a16="http://schemas.microsoft.com/office/drawing/2014/main" id="{F641CF9B-E72B-4F85-A7FE-1D68C9685232}"/>
              </a:ext>
            </a:extLst>
          </p:cNvPr>
          <p:cNvSpPr/>
          <p:nvPr/>
        </p:nvSpPr>
        <p:spPr>
          <a:xfrm>
            <a:off x="5273125" y="1856936"/>
            <a:ext cx="347659" cy="22477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385B7C1-FB07-42E5-84E2-C1DE4ED3FFB4}"/>
              </a:ext>
            </a:extLst>
          </p:cNvPr>
          <p:cNvSpPr txBox="1">
            <a:spLocks/>
          </p:cNvSpPr>
          <p:nvPr/>
        </p:nvSpPr>
        <p:spPr>
          <a:xfrm>
            <a:off x="161925" y="2870137"/>
            <a:ext cx="11837860" cy="3584329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buNone/>
            </a:pPr>
            <a:r>
              <a:rPr lang="en-US" sz="1800" b="0" i="0" dirty="0">
                <a:solidFill>
                  <a:srgbClr val="777777"/>
                </a:solidFill>
                <a:effectLst/>
                <a:latin typeface="pt sans"/>
              </a:rPr>
              <a:t>Q – In India, 5 out of 100 people are COVID-19 confirmed, Test are being conducted across the country and found that people who are confirmed the test gave 9 out of 10 times positive result and 1 out 10 times test gav</a:t>
            </a:r>
            <a:r>
              <a:rPr lang="en-US" sz="1800" dirty="0">
                <a:solidFill>
                  <a:srgbClr val="777777"/>
                </a:solidFill>
                <a:latin typeface="pt sans"/>
              </a:rPr>
              <a:t>e positive result for people who are not-</a:t>
            </a:r>
            <a:r>
              <a:rPr lang="en-US" sz="1800" dirty="0" err="1">
                <a:solidFill>
                  <a:srgbClr val="777777"/>
                </a:solidFill>
                <a:latin typeface="pt sans"/>
              </a:rPr>
              <a:t>covid</a:t>
            </a:r>
            <a:r>
              <a:rPr lang="en-US" sz="1800" dirty="0">
                <a:solidFill>
                  <a:srgbClr val="777777"/>
                </a:solidFill>
                <a:latin typeface="pt sans"/>
              </a:rPr>
              <a:t> positive. Suppose 1 person is picked from the population and found that the test is +ve what are the chances that the person has COVID?</a:t>
            </a:r>
            <a:endParaRPr lang="en-US" sz="1800" b="0" i="0" dirty="0">
              <a:solidFill>
                <a:srgbClr val="777777"/>
              </a:solidFill>
              <a:effectLst/>
              <a:latin typeface="pt sans"/>
            </a:endParaRPr>
          </a:p>
          <a:p>
            <a:pPr marL="0" indent="0">
              <a:buNone/>
            </a:pPr>
            <a:r>
              <a:rPr lang="en-US" sz="1800" b="1" dirty="0">
                <a:solidFill>
                  <a:srgbClr val="777777"/>
                </a:solidFill>
                <a:latin typeface="pt sans"/>
              </a:rPr>
              <a:t>Ans -</a:t>
            </a:r>
            <a:r>
              <a:rPr lang="en-US" sz="1800" dirty="0">
                <a:solidFill>
                  <a:srgbClr val="777777"/>
                </a:solidFill>
                <a:latin typeface="pt sans"/>
              </a:rPr>
              <a:t>  N = 100</a:t>
            </a:r>
          </a:p>
          <a:p>
            <a:pPr marL="0" indent="0">
              <a:buNone/>
            </a:pPr>
            <a:r>
              <a:rPr lang="en-US" sz="1800" dirty="0">
                <a:solidFill>
                  <a:srgbClr val="777777"/>
                </a:solidFill>
                <a:latin typeface="pt sans"/>
              </a:rPr>
              <a:t>P(COVID) = 5/100 = 5%</a:t>
            </a:r>
          </a:p>
          <a:p>
            <a:pPr marL="0" indent="0">
              <a:buNone/>
            </a:pPr>
            <a:endParaRPr lang="en-US" sz="1600" dirty="0">
              <a:solidFill>
                <a:srgbClr val="777777"/>
              </a:solidFill>
              <a:latin typeface="pt sans"/>
            </a:endParaRPr>
          </a:p>
          <a:p>
            <a:pPr marL="0" indent="0">
              <a:buNone/>
            </a:pPr>
            <a:r>
              <a:rPr lang="en-US" sz="1800" dirty="0">
                <a:solidFill>
                  <a:srgbClr val="777777"/>
                </a:solidFill>
                <a:latin typeface="pt sans"/>
              </a:rPr>
              <a:t>P(+|COVID) =  9/10 = 90%</a:t>
            </a:r>
          </a:p>
          <a:p>
            <a:pPr marL="0" indent="0">
              <a:buNone/>
            </a:pPr>
            <a:r>
              <a:rPr lang="en-US" sz="1800" dirty="0">
                <a:solidFill>
                  <a:srgbClr val="777777"/>
                </a:solidFill>
                <a:latin typeface="pt sans"/>
              </a:rPr>
              <a:t>P(-|COVID) =  1/10 = 10%</a:t>
            </a:r>
          </a:p>
          <a:p>
            <a:pPr marL="0" indent="0">
              <a:buNone/>
            </a:pPr>
            <a:endParaRPr lang="en-US" sz="1800" dirty="0">
              <a:solidFill>
                <a:srgbClr val="777777"/>
              </a:solidFill>
              <a:latin typeface="pt sans"/>
            </a:endParaRPr>
          </a:p>
          <a:p>
            <a:pPr marL="0" indent="0">
              <a:buNone/>
            </a:pPr>
            <a:r>
              <a:rPr lang="en-US" sz="1800" dirty="0">
                <a:solidFill>
                  <a:srgbClr val="777777"/>
                </a:solidFill>
                <a:latin typeface="pt sans"/>
              </a:rPr>
              <a:t>P(+|non - COVID) =  10/100 = 10%</a:t>
            </a:r>
          </a:p>
          <a:p>
            <a:pPr marL="0" indent="0">
              <a:buNone/>
            </a:pPr>
            <a:r>
              <a:rPr lang="en-US" sz="1800" dirty="0">
                <a:solidFill>
                  <a:srgbClr val="777777"/>
                </a:solidFill>
                <a:latin typeface="pt sans"/>
              </a:rPr>
              <a:t>P(-|non - COVID) =  90/100 = 90%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1B0AC4-7441-467F-AE1A-1E82D87AD10F}"/>
              </a:ext>
            </a:extLst>
          </p:cNvPr>
          <p:cNvSpPr txBox="1"/>
          <p:nvPr/>
        </p:nvSpPr>
        <p:spPr>
          <a:xfrm>
            <a:off x="6078447" y="4885253"/>
            <a:ext cx="3866938" cy="4059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777777"/>
                </a:solidFill>
                <a:latin typeface="pt sans"/>
              </a:rPr>
              <a:t>P(COVID | Test is Positive) = ??</a:t>
            </a:r>
          </a:p>
        </p:txBody>
      </p:sp>
    </p:spTree>
    <p:extLst>
      <p:ext uri="{BB962C8B-B14F-4D97-AF65-F5344CB8AC3E}">
        <p14:creationId xmlns:p14="http://schemas.microsoft.com/office/powerpoint/2010/main" val="91151709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0E70D21-FE27-4429-A74F-221226F569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5612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0E70D21-FE27-4429-A74F-221226F569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2F22FCF-EC63-4134-BFDA-9E6033E820A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D5DDBC-5D6A-4DB0-B385-6A92298F60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7109" y="180368"/>
            <a:ext cx="11842676" cy="713483"/>
          </a:xfrm>
        </p:spPr>
        <p:txBody>
          <a:bodyPr/>
          <a:lstStyle/>
          <a:p>
            <a:r>
              <a:rPr lang="en-US" sz="4400" b="0" i="0" u="none" strike="noStrike" dirty="0">
                <a:solidFill>
                  <a:schemeClr val="accent1"/>
                </a:solidFill>
                <a:effectLst/>
                <a:latin typeface="Arial" panose="020B0604020202020204" pitchFamily="34" charset="0"/>
              </a:rPr>
              <a:t>Probability Distributions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385B7C1-FB07-42E5-84E2-C1DE4ED3FFB4}"/>
              </a:ext>
            </a:extLst>
          </p:cNvPr>
          <p:cNvSpPr txBox="1">
            <a:spLocks/>
          </p:cNvSpPr>
          <p:nvPr/>
        </p:nvSpPr>
        <p:spPr>
          <a:xfrm>
            <a:off x="157109" y="1097387"/>
            <a:ext cx="11925300" cy="5580245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buNone/>
            </a:pPr>
            <a:r>
              <a:rPr lang="en-US" sz="1800" dirty="0">
                <a:solidFill>
                  <a:srgbClr val="595959"/>
                </a:solidFill>
                <a:latin typeface="Arial" panose="020B0604020202020204" pitchFamily="34" charset="0"/>
              </a:rPr>
              <a:t>Datasets are composed of two main types of data: </a:t>
            </a:r>
          </a:p>
          <a:p>
            <a:pPr lvl="1">
              <a:lnSpc>
                <a:spcPct val="120000"/>
              </a:lnSpc>
            </a:pPr>
            <a:r>
              <a:rPr lang="en-US" sz="1600" dirty="0">
                <a:solidFill>
                  <a:srgbClr val="595959"/>
                </a:solidFill>
                <a:latin typeface="Arial" panose="020B0604020202020204" pitchFamily="34" charset="0"/>
              </a:rPr>
              <a:t>Numerical (</a:t>
            </a:r>
            <a:r>
              <a:rPr lang="en-US" sz="1600" dirty="0" err="1">
                <a:solidFill>
                  <a:srgbClr val="595959"/>
                </a:solidFill>
                <a:latin typeface="Arial" panose="020B0604020202020204" pitchFamily="34" charset="0"/>
              </a:rPr>
              <a:t>eg.</a:t>
            </a:r>
            <a:r>
              <a:rPr lang="en-US" sz="1600" dirty="0">
                <a:solidFill>
                  <a:srgbClr val="595959"/>
                </a:solidFill>
                <a:latin typeface="Arial" panose="020B0604020202020204" pitchFamily="34" charset="0"/>
              </a:rPr>
              <a:t> integers, floats)</a:t>
            </a:r>
          </a:p>
          <a:p>
            <a:pPr lvl="1">
              <a:lnSpc>
                <a:spcPct val="120000"/>
              </a:lnSpc>
            </a:pPr>
            <a:r>
              <a:rPr lang="en-US" sz="1600" dirty="0">
                <a:solidFill>
                  <a:srgbClr val="595959"/>
                </a:solidFill>
                <a:latin typeface="Arial" panose="020B0604020202020204" pitchFamily="34" charset="0"/>
              </a:rPr>
              <a:t>Categorical (</a:t>
            </a:r>
            <a:r>
              <a:rPr lang="en-US" sz="1600" dirty="0" err="1">
                <a:solidFill>
                  <a:srgbClr val="595959"/>
                </a:solidFill>
                <a:latin typeface="Arial" panose="020B0604020202020204" pitchFamily="34" charset="0"/>
              </a:rPr>
              <a:t>eg.</a:t>
            </a:r>
            <a:r>
              <a:rPr lang="en-US" sz="1600" dirty="0">
                <a:solidFill>
                  <a:srgbClr val="595959"/>
                </a:solidFill>
                <a:latin typeface="Arial" panose="020B0604020202020204" pitchFamily="34" charset="0"/>
              </a:rPr>
              <a:t> names, laptops brands)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en-US" sz="1800" dirty="0">
                <a:solidFill>
                  <a:srgbClr val="595959"/>
                </a:solidFill>
                <a:latin typeface="Arial" panose="020B0604020202020204" pitchFamily="34" charset="0"/>
              </a:rPr>
              <a:t>Numerical data can additionally be divided into other two categories: </a:t>
            </a:r>
            <a:r>
              <a:rPr lang="en-US" sz="1800" b="1" dirty="0">
                <a:solidFill>
                  <a:srgbClr val="595959"/>
                </a:solidFill>
                <a:latin typeface="Arial" panose="020B0604020202020204" pitchFamily="34" charset="0"/>
              </a:rPr>
              <a:t>Discrete</a:t>
            </a:r>
            <a:r>
              <a:rPr lang="en-US" sz="1800" dirty="0">
                <a:solidFill>
                  <a:srgbClr val="595959"/>
                </a:solidFill>
                <a:latin typeface="Arial" panose="020B0604020202020204" pitchFamily="34" charset="0"/>
              </a:rPr>
              <a:t> and </a:t>
            </a:r>
            <a:r>
              <a:rPr lang="en-US" sz="1800" b="1" dirty="0">
                <a:solidFill>
                  <a:srgbClr val="595959"/>
                </a:solidFill>
                <a:latin typeface="Arial" panose="020B0604020202020204" pitchFamily="34" charset="0"/>
              </a:rPr>
              <a:t>Continuous -</a:t>
            </a:r>
            <a:endParaRPr lang="en-US" sz="1800" dirty="0">
              <a:solidFill>
                <a:srgbClr val="595959"/>
              </a:solidFill>
              <a:latin typeface="Arial" panose="020B0604020202020204" pitchFamily="34" charset="0"/>
            </a:endParaRPr>
          </a:p>
          <a:p>
            <a:pPr lvl="1">
              <a:lnSpc>
                <a:spcPct val="120000"/>
              </a:lnSpc>
            </a:pPr>
            <a:r>
              <a:rPr lang="en-US" sz="1600" dirty="0">
                <a:solidFill>
                  <a:srgbClr val="595959"/>
                </a:solidFill>
                <a:latin typeface="Arial" panose="020B0604020202020204" pitchFamily="34" charset="0"/>
              </a:rPr>
              <a:t>Discrete data can take only certain values (</a:t>
            </a:r>
            <a:r>
              <a:rPr lang="en-US" sz="1600" dirty="0" err="1">
                <a:solidFill>
                  <a:srgbClr val="595959"/>
                </a:solidFill>
                <a:latin typeface="Arial" panose="020B0604020202020204" pitchFamily="34" charset="0"/>
              </a:rPr>
              <a:t>eg.</a:t>
            </a:r>
            <a:r>
              <a:rPr lang="en-US" sz="1600" dirty="0">
                <a:solidFill>
                  <a:srgbClr val="595959"/>
                </a:solidFill>
                <a:latin typeface="Arial" panose="020B0604020202020204" pitchFamily="34" charset="0"/>
              </a:rPr>
              <a:t> number of students in a school) </a:t>
            </a:r>
          </a:p>
          <a:p>
            <a:pPr lvl="1">
              <a:lnSpc>
                <a:spcPct val="120000"/>
              </a:lnSpc>
            </a:pPr>
            <a:r>
              <a:rPr lang="en-US" sz="1600" dirty="0">
                <a:solidFill>
                  <a:srgbClr val="595959"/>
                </a:solidFill>
                <a:latin typeface="Arial" panose="020B0604020202020204" pitchFamily="34" charset="0"/>
              </a:rPr>
              <a:t>Continuous data can take any real or fractional value (</a:t>
            </a:r>
            <a:r>
              <a:rPr lang="en-US" sz="1600" dirty="0" err="1">
                <a:solidFill>
                  <a:srgbClr val="595959"/>
                </a:solidFill>
                <a:latin typeface="Arial" panose="020B0604020202020204" pitchFamily="34" charset="0"/>
              </a:rPr>
              <a:t>eg.</a:t>
            </a:r>
            <a:r>
              <a:rPr lang="en-US" sz="1600" dirty="0">
                <a:solidFill>
                  <a:srgbClr val="595959"/>
                </a:solidFill>
                <a:latin typeface="Arial" panose="020B0604020202020204" pitchFamily="34" charset="0"/>
              </a:rPr>
              <a:t> the concepts of height and weights)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en-US" sz="1800" b="1" dirty="0">
                <a:solidFill>
                  <a:srgbClr val="595959"/>
                </a:solidFill>
                <a:latin typeface="Arial" panose="020B0604020202020204" pitchFamily="34" charset="0"/>
              </a:rPr>
              <a:t>Random Variable - </a:t>
            </a:r>
            <a:r>
              <a:rPr lang="en-US" sz="1800" dirty="0">
                <a:solidFill>
                  <a:srgbClr val="595959"/>
                </a:solidFill>
                <a:latin typeface="Arial" panose="020B0604020202020204" pitchFamily="34" charset="0"/>
              </a:rPr>
              <a:t>is a variable whose possible values are numerical outcomes of a random phenomenon. There are two types of random variables –</a:t>
            </a:r>
          </a:p>
          <a:p>
            <a:pPr lvl="1">
              <a:lnSpc>
                <a:spcPct val="120000"/>
              </a:lnSpc>
            </a:pPr>
            <a:r>
              <a:rPr lang="en-US" sz="1600" dirty="0">
                <a:solidFill>
                  <a:srgbClr val="595959"/>
                </a:solidFill>
                <a:latin typeface="Arial" panose="020B0604020202020204" pitchFamily="34" charset="0"/>
              </a:rPr>
              <a:t>Discrete </a:t>
            </a:r>
          </a:p>
          <a:p>
            <a:pPr lvl="1">
              <a:lnSpc>
                <a:spcPct val="120000"/>
              </a:lnSpc>
            </a:pPr>
            <a:r>
              <a:rPr lang="en-US" sz="1600" dirty="0">
                <a:solidFill>
                  <a:srgbClr val="595959"/>
                </a:solidFill>
                <a:latin typeface="Arial" panose="020B0604020202020204" pitchFamily="34" charset="0"/>
              </a:rPr>
              <a:t>Continuous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en-US" sz="2400" b="1" dirty="0">
                <a:solidFill>
                  <a:srgbClr val="595959"/>
                </a:solidFill>
                <a:latin typeface="Arial" panose="020B0604020202020204" pitchFamily="34" charset="0"/>
              </a:rPr>
              <a:t>Probability Distribution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en-US" sz="2000" dirty="0">
                <a:solidFill>
                  <a:srgbClr val="595959"/>
                </a:solidFill>
                <a:latin typeface="Arial" panose="020B0604020202020204" pitchFamily="34" charset="0"/>
              </a:rPr>
              <a:t>The probability distribution of a random variable is the mathematical function describing the possible values of a random variable and their associated probabilities 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en-US" sz="2000" dirty="0">
                <a:solidFill>
                  <a:srgbClr val="595959"/>
                </a:solidFill>
                <a:latin typeface="Arial" panose="020B0604020202020204" pitchFamily="34" charset="0"/>
              </a:rPr>
              <a:t>From discrete random variables, it is possible to calculate </a:t>
            </a:r>
            <a:r>
              <a:rPr lang="en-US" sz="2000" b="1" dirty="0">
                <a:solidFill>
                  <a:srgbClr val="595959"/>
                </a:solidFill>
                <a:latin typeface="Arial" panose="020B0604020202020204" pitchFamily="34" charset="0"/>
              </a:rPr>
              <a:t>Probability Mass Functions</a:t>
            </a:r>
            <a:r>
              <a:rPr lang="en-US" sz="2000" dirty="0">
                <a:solidFill>
                  <a:srgbClr val="595959"/>
                </a:solidFill>
                <a:latin typeface="Arial" panose="020B0604020202020204" pitchFamily="34" charset="0"/>
              </a:rPr>
              <a:t>, while from continuous random variables can be derived </a:t>
            </a:r>
            <a:r>
              <a:rPr lang="en-US" sz="2000" b="1" dirty="0">
                <a:solidFill>
                  <a:srgbClr val="595959"/>
                </a:solidFill>
                <a:latin typeface="Arial" panose="020B0604020202020204" pitchFamily="34" charset="0"/>
              </a:rPr>
              <a:t>Probability Density Functions</a:t>
            </a:r>
          </a:p>
          <a:p>
            <a:pPr marL="0" indent="0">
              <a:lnSpc>
                <a:spcPct val="120000"/>
              </a:lnSpc>
              <a:buNone/>
            </a:pPr>
            <a:endParaRPr lang="en-US" sz="1800" dirty="0">
              <a:solidFill>
                <a:srgbClr val="595959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390490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7FD2C9D-36B9-4138-BB26-4A9B6F57D2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763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7FD2C9D-36B9-4138-BB26-4A9B6F57D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3CB69D-7897-43A6-9BD4-98D9B668907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0B74324-4B4E-47F9-9DEA-035ECA45D7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0654" y="200740"/>
            <a:ext cx="10515600" cy="590372"/>
          </a:xfrm>
        </p:spPr>
        <p:txBody>
          <a:bodyPr>
            <a:noAutofit/>
          </a:bodyPr>
          <a:lstStyle/>
          <a:p>
            <a:r>
              <a:rPr lang="en-US" b="0" i="0" u="none" strike="noStrike" dirty="0">
                <a:solidFill>
                  <a:schemeClr val="accent1"/>
                </a:solidFill>
                <a:effectLst/>
                <a:latin typeface="Arial" panose="020B0604020202020204" pitchFamily="34" charset="0"/>
              </a:rPr>
              <a:t>Probability Distributions </a:t>
            </a:r>
            <a:r>
              <a:rPr lang="en-US" b="0" i="0" u="none" strike="noStrike" dirty="0" err="1">
                <a:solidFill>
                  <a:schemeClr val="accent1"/>
                </a:solidFill>
                <a:effectLst/>
                <a:latin typeface="Arial" panose="020B0604020202020204" pitchFamily="34" charset="0"/>
              </a:rPr>
              <a:t>Contd</a:t>
            </a:r>
            <a:r>
              <a:rPr lang="en-US" b="0" i="0" u="none" strike="noStrike" dirty="0">
                <a:solidFill>
                  <a:schemeClr val="accent1"/>
                </a:solidFill>
                <a:effectLst/>
                <a:latin typeface="Arial" panose="020B0604020202020204" pitchFamily="34" charset="0"/>
              </a:rPr>
              <a:t>…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2887707-2B5C-4796-9C71-D8C05D7A167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28800" y="1068878"/>
            <a:ext cx="7972745" cy="5588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03184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7FD2C9D-36B9-4138-BB26-4A9B6F57D2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395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7FD2C9D-36B9-4138-BB26-4A9B6F57D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3CB69D-7897-43A6-9BD4-98D9B668907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0B74324-4B4E-47F9-9DEA-035ECA45D7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0654" y="200740"/>
            <a:ext cx="10515600" cy="590372"/>
          </a:xfrm>
        </p:spPr>
        <p:txBody>
          <a:bodyPr>
            <a:noAutofit/>
          </a:bodyPr>
          <a:lstStyle/>
          <a:p>
            <a:r>
              <a:rPr lang="en-US" b="0" i="0" u="none" strike="noStrike" dirty="0">
                <a:solidFill>
                  <a:schemeClr val="accent1"/>
                </a:solidFill>
                <a:effectLst/>
                <a:latin typeface="Arial" panose="020B0604020202020204" pitchFamily="34" charset="0"/>
              </a:rPr>
              <a:t>Discrete Distributions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1B18ACC-BB0B-4080-B753-F990B68422C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0654" y="1324617"/>
            <a:ext cx="6886906" cy="258983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4265914-F9AB-4CD3-9C99-887EB92F44E4}"/>
              </a:ext>
            </a:extLst>
          </p:cNvPr>
          <p:cNvSpPr txBox="1"/>
          <p:nvPr/>
        </p:nvSpPr>
        <p:spPr>
          <a:xfrm>
            <a:off x="180654" y="935186"/>
            <a:ext cx="10762179" cy="4947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lnSpc>
                <a:spcPct val="120000"/>
              </a:lnSpc>
              <a:buNone/>
            </a:pPr>
            <a:r>
              <a:rPr lang="en-US" sz="2400" b="1" dirty="0">
                <a:solidFill>
                  <a:srgbClr val="595959"/>
                </a:solidFill>
                <a:latin typeface="Arial" panose="020B0604020202020204" pitchFamily="34" charset="0"/>
              </a:rPr>
              <a:t>Probability Mass Function (</a:t>
            </a:r>
            <a:r>
              <a:rPr lang="en-US" sz="2400" b="1" dirty="0" err="1">
                <a:solidFill>
                  <a:srgbClr val="595959"/>
                </a:solidFill>
                <a:latin typeface="Arial" panose="020B0604020202020204" pitchFamily="34" charset="0"/>
              </a:rPr>
              <a:t>pmf</a:t>
            </a:r>
            <a:r>
              <a:rPr lang="en-US" sz="2400" b="1" dirty="0">
                <a:solidFill>
                  <a:srgbClr val="595959"/>
                </a:solidFill>
                <a:latin typeface="Arial" panose="020B0604020202020204" pitchFamily="34" charset="0"/>
              </a:rPr>
              <a:t>) -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998AC9F-010B-4F16-A02F-64FEDECDA281}"/>
              </a:ext>
            </a:extLst>
          </p:cNvPr>
          <p:cNvSpPr txBox="1"/>
          <p:nvPr/>
        </p:nvSpPr>
        <p:spPr>
          <a:xfrm>
            <a:off x="180654" y="4078841"/>
            <a:ext cx="11840110" cy="26161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lnSpc>
                <a:spcPct val="120000"/>
              </a:lnSpc>
              <a:buNone/>
            </a:pPr>
            <a:r>
              <a:rPr lang="en-US" b="1" dirty="0">
                <a:solidFill>
                  <a:srgbClr val="595959"/>
                </a:solidFill>
                <a:latin typeface="Arial" panose="020B0604020202020204" pitchFamily="34" charset="0"/>
              </a:rPr>
              <a:t>Bernoulli Distribution - </a:t>
            </a:r>
            <a:r>
              <a:rPr lang="en-US" sz="1600" dirty="0">
                <a:solidFill>
                  <a:srgbClr val="595959"/>
                </a:solidFill>
                <a:latin typeface="Arial" panose="020B0604020202020204" pitchFamily="34" charset="0"/>
              </a:rPr>
              <a:t>This distribution has only two possible outcomes and a single trial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en-US" sz="1600" dirty="0">
                <a:solidFill>
                  <a:srgbClr val="595959"/>
                </a:solidFill>
                <a:latin typeface="Arial" panose="020B0604020202020204" pitchFamily="34" charset="0"/>
              </a:rPr>
              <a:t>A simple example can be a single toss of a biased/unbiased coin. In this example, the probability that the outcome might be heads can be considered equal to p and (1 - p) for tails</a:t>
            </a:r>
          </a:p>
          <a:p>
            <a:pPr algn="l"/>
            <a:r>
              <a:rPr lang="en-US" sz="1600" b="1" dirty="0">
                <a:solidFill>
                  <a:srgbClr val="595959"/>
                </a:solidFill>
                <a:latin typeface="Arial" panose="020B0604020202020204" pitchFamily="34" charset="0"/>
              </a:rPr>
              <a:t>Mean – </a:t>
            </a:r>
            <a:r>
              <a:rPr lang="en-US" sz="1600" dirty="0">
                <a:solidFill>
                  <a:srgbClr val="595959"/>
                </a:solidFill>
                <a:latin typeface="Arial" panose="020B0604020202020204" pitchFamily="34" charset="0"/>
              </a:rPr>
              <a:t> p = p</a:t>
            </a:r>
          </a:p>
          <a:p>
            <a:pPr algn="l"/>
            <a:r>
              <a:rPr lang="en-US" sz="1600" b="1" dirty="0">
                <a:solidFill>
                  <a:srgbClr val="595959"/>
                </a:solidFill>
                <a:latin typeface="Arial" panose="020B0604020202020204" pitchFamily="34" charset="0"/>
              </a:rPr>
              <a:t>Variance – </a:t>
            </a:r>
            <a:r>
              <a:rPr lang="en-US" sz="1600" dirty="0">
                <a:solidFill>
                  <a:srgbClr val="595959"/>
                </a:solidFill>
                <a:latin typeface="Arial" panose="020B0604020202020204" pitchFamily="34" charset="0"/>
              </a:rPr>
              <a:t>p X (1-p) = p(1-p)</a:t>
            </a:r>
          </a:p>
          <a:p>
            <a:pPr algn="l"/>
            <a:endParaRPr lang="en-US" b="1" dirty="0">
              <a:solidFill>
                <a:srgbClr val="595959"/>
              </a:solidFill>
              <a:latin typeface="Arial" panose="020B0604020202020204" pitchFamily="34" charset="0"/>
            </a:endParaRPr>
          </a:p>
          <a:p>
            <a:pPr algn="l"/>
            <a:r>
              <a:rPr lang="en-US" b="1" dirty="0">
                <a:solidFill>
                  <a:srgbClr val="595959"/>
                </a:solidFill>
                <a:latin typeface="Arial" panose="020B0604020202020204" pitchFamily="34" charset="0"/>
              </a:rPr>
              <a:t>Uniform Distribution - </a:t>
            </a:r>
            <a:r>
              <a:rPr lang="en-US" sz="1600" dirty="0">
                <a:solidFill>
                  <a:srgbClr val="595959"/>
                </a:solidFill>
                <a:latin typeface="Arial" panose="020B0604020202020204" pitchFamily="34" charset="0"/>
              </a:rPr>
              <a:t>The Uniform Distribution can be easily derived from the Bernoulli Distribution. In this case, a possibly unlimited number of outcomes are allowed and all the events hold the same probability to take place</a:t>
            </a:r>
          </a:p>
          <a:p>
            <a:pPr algn="l"/>
            <a:r>
              <a:rPr lang="en-US" sz="1600" b="1" dirty="0">
                <a:solidFill>
                  <a:srgbClr val="595959"/>
                </a:solidFill>
                <a:latin typeface="Arial" panose="020B0604020202020204" pitchFamily="34" charset="0"/>
              </a:rPr>
              <a:t>Mean - </a:t>
            </a:r>
            <a:r>
              <a:rPr lang="en-US" sz="1600" dirty="0">
                <a:solidFill>
                  <a:srgbClr val="595959"/>
                </a:solidFill>
                <a:latin typeface="Arial" panose="020B0604020202020204" pitchFamily="34" charset="0"/>
              </a:rPr>
              <a:t>A+B/2, </a:t>
            </a:r>
            <a:r>
              <a:rPr lang="en-US" sz="1600" b="1" dirty="0">
                <a:solidFill>
                  <a:srgbClr val="595959"/>
                </a:solidFill>
                <a:latin typeface="Arial" panose="020B0604020202020204" pitchFamily="34" charset="0"/>
              </a:rPr>
              <a:t>Variance – (</a:t>
            </a:r>
            <a:r>
              <a:rPr lang="en-US" sz="1600" dirty="0">
                <a:solidFill>
                  <a:srgbClr val="595959"/>
                </a:solidFill>
                <a:latin typeface="Arial" panose="020B0604020202020204" pitchFamily="34" charset="0"/>
              </a:rPr>
              <a:t>square(b-a+1) – 1) /12</a:t>
            </a:r>
          </a:p>
        </p:txBody>
      </p:sp>
    </p:spTree>
    <p:extLst>
      <p:ext uri="{BB962C8B-B14F-4D97-AF65-F5344CB8AC3E}">
        <p14:creationId xmlns:p14="http://schemas.microsoft.com/office/powerpoint/2010/main" val="14222501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7FD2C9D-36B9-4138-BB26-4A9B6F57D2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4925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7FD2C9D-36B9-4138-BB26-4A9B6F57D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3CB69D-7897-43A6-9BD4-98D9B668907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0B74324-4B4E-47F9-9DEA-035ECA45D7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0654" y="200740"/>
            <a:ext cx="10515600" cy="590372"/>
          </a:xfrm>
        </p:spPr>
        <p:txBody>
          <a:bodyPr>
            <a:noAutofit/>
          </a:bodyPr>
          <a:lstStyle/>
          <a:p>
            <a:r>
              <a:rPr lang="en-US" b="0" i="0" u="none" strike="noStrike" dirty="0">
                <a:solidFill>
                  <a:schemeClr val="accent1"/>
                </a:solidFill>
                <a:effectLst/>
                <a:latin typeface="Arial" panose="020B0604020202020204" pitchFamily="34" charset="0"/>
              </a:rPr>
              <a:t>Discrete Distributions </a:t>
            </a:r>
            <a:r>
              <a:rPr lang="en-US" b="0" i="0" u="none" strike="noStrike" dirty="0" err="1">
                <a:solidFill>
                  <a:schemeClr val="accent1"/>
                </a:solidFill>
                <a:effectLst/>
                <a:latin typeface="Arial" panose="020B0604020202020204" pitchFamily="34" charset="0"/>
              </a:rPr>
              <a:t>Contd</a:t>
            </a:r>
            <a:r>
              <a:rPr lang="en-US" b="0" i="0" u="none" strike="noStrike" dirty="0">
                <a:solidFill>
                  <a:schemeClr val="accent1"/>
                </a:solidFill>
                <a:effectLst/>
                <a:latin typeface="Arial" panose="020B0604020202020204" pitchFamily="34" charset="0"/>
              </a:rPr>
              <a:t>…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4265914-F9AB-4CD3-9C99-887EB92F44E4}"/>
              </a:ext>
            </a:extLst>
          </p:cNvPr>
          <p:cNvSpPr txBox="1"/>
          <p:nvPr/>
        </p:nvSpPr>
        <p:spPr>
          <a:xfrm>
            <a:off x="180654" y="939746"/>
            <a:ext cx="11919734" cy="535531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600" b="1" dirty="0">
                <a:solidFill>
                  <a:srgbClr val="595959"/>
                </a:solidFill>
                <a:latin typeface="Arial" panose="020B0604020202020204" pitchFamily="34" charset="0"/>
              </a:rPr>
              <a:t>Binomial Distribution -</a:t>
            </a:r>
            <a:r>
              <a:rPr lang="en-US" sz="2000" b="1" dirty="0">
                <a:solidFill>
                  <a:srgbClr val="595959"/>
                </a:solidFill>
                <a:latin typeface="Arial" panose="020B0604020202020204" pitchFamily="34" charset="0"/>
              </a:rPr>
              <a:t> </a:t>
            </a:r>
            <a:r>
              <a:rPr lang="en-US" sz="1400" dirty="0">
                <a:solidFill>
                  <a:srgbClr val="595959"/>
                </a:solidFill>
                <a:latin typeface="Arial" panose="020B0604020202020204" pitchFamily="34" charset="0"/>
              </a:rPr>
              <a:t>The Binomial Distribution can instead be thought as the sum of outcomes of an event following a Bernoulli distribution. The Binomial Distribution is therefore used in binary outcome events and the probability of success and failure is the same in all the successive trials. This distribution takes </a:t>
            </a:r>
            <a:r>
              <a:rPr lang="en-US" sz="1400" b="1" dirty="0">
                <a:solidFill>
                  <a:srgbClr val="595959"/>
                </a:solidFill>
                <a:latin typeface="Arial" panose="020B0604020202020204" pitchFamily="34" charset="0"/>
              </a:rPr>
              <a:t>two parameters</a:t>
            </a:r>
            <a:r>
              <a:rPr lang="en-US" sz="1400" dirty="0">
                <a:solidFill>
                  <a:srgbClr val="595959"/>
                </a:solidFill>
                <a:latin typeface="Arial" panose="020B0604020202020204" pitchFamily="34" charset="0"/>
              </a:rPr>
              <a:t> as inputs: </a:t>
            </a:r>
            <a:r>
              <a:rPr lang="en-US" sz="1400" b="1" dirty="0">
                <a:solidFill>
                  <a:srgbClr val="595959"/>
                </a:solidFill>
                <a:latin typeface="Arial" panose="020B0604020202020204" pitchFamily="34" charset="0"/>
              </a:rPr>
              <a:t>the number of times an event takes place (n) </a:t>
            </a:r>
            <a:r>
              <a:rPr lang="en-US" sz="1400" dirty="0">
                <a:solidFill>
                  <a:srgbClr val="595959"/>
                </a:solidFill>
                <a:latin typeface="Arial" panose="020B0604020202020204" pitchFamily="34" charset="0"/>
              </a:rPr>
              <a:t>and the </a:t>
            </a:r>
            <a:r>
              <a:rPr lang="en-US" sz="1400" b="1" dirty="0">
                <a:solidFill>
                  <a:srgbClr val="595959"/>
                </a:solidFill>
                <a:latin typeface="Arial" panose="020B0604020202020204" pitchFamily="34" charset="0"/>
              </a:rPr>
              <a:t>probability assigned to one of the two classes (p)</a:t>
            </a:r>
          </a:p>
          <a:p>
            <a:pPr algn="l"/>
            <a:endParaRPr lang="en-US" sz="1400" dirty="0">
              <a:solidFill>
                <a:srgbClr val="595959"/>
              </a:solidFill>
              <a:latin typeface="Arial" panose="020B0604020202020204" pitchFamily="34" charset="0"/>
            </a:endParaRPr>
          </a:p>
          <a:p>
            <a:pPr algn="l"/>
            <a:r>
              <a:rPr lang="en-US" sz="1400" b="1" dirty="0">
                <a:solidFill>
                  <a:srgbClr val="595959"/>
                </a:solidFill>
                <a:latin typeface="Arial" panose="020B0604020202020204" pitchFamily="34" charset="0"/>
              </a:rPr>
              <a:t>Binomial Setting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595959"/>
                </a:solidFill>
                <a:latin typeface="Arial" panose="020B0604020202020204" pitchFamily="34" charset="0"/>
              </a:rPr>
              <a:t>Fixed number of trial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595959"/>
                </a:solidFill>
                <a:latin typeface="Arial" panose="020B0604020202020204" pitchFamily="34" charset="0"/>
              </a:rPr>
              <a:t>Only two possible outcomes of the trials - success or failure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595959"/>
                </a:solidFill>
                <a:latin typeface="Arial" panose="020B0604020202020204" pitchFamily="34" charset="0"/>
              </a:rPr>
              <a:t>Trials are independent and random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595959"/>
                </a:solidFill>
                <a:latin typeface="Arial" panose="020B0604020202020204" pitchFamily="34" charset="0"/>
              </a:rPr>
              <a:t>Prob of success of failure does not change during n trials</a:t>
            </a:r>
          </a:p>
          <a:p>
            <a:pPr algn="l"/>
            <a:endParaRPr lang="en-US" sz="1400" dirty="0">
              <a:solidFill>
                <a:srgbClr val="595959"/>
              </a:solidFill>
              <a:latin typeface="Arial" panose="020B0604020202020204" pitchFamily="34" charset="0"/>
            </a:endParaRPr>
          </a:p>
          <a:p>
            <a:pPr algn="l"/>
            <a:r>
              <a:rPr lang="en-US" sz="1400" b="1" dirty="0">
                <a:solidFill>
                  <a:srgbClr val="595959"/>
                </a:solidFill>
                <a:latin typeface="Arial" panose="020B0604020202020204" pitchFamily="34" charset="0"/>
              </a:rPr>
              <a:t>Note –</a:t>
            </a:r>
            <a:r>
              <a:rPr lang="en-US" sz="1400" dirty="0">
                <a:solidFill>
                  <a:srgbClr val="595959"/>
                </a:solidFill>
                <a:latin typeface="Arial" panose="020B0604020202020204" pitchFamily="34" charset="0"/>
              </a:rPr>
              <a:t> The outcome of one trial does not influence another trial</a:t>
            </a:r>
          </a:p>
          <a:p>
            <a:pPr algn="l"/>
            <a:endParaRPr lang="en-US" sz="1400" dirty="0">
              <a:solidFill>
                <a:srgbClr val="595959"/>
              </a:solidFill>
              <a:latin typeface="Arial" panose="020B0604020202020204" pitchFamily="34" charset="0"/>
            </a:endParaRPr>
          </a:p>
          <a:p>
            <a:pPr algn="l"/>
            <a:r>
              <a:rPr lang="en-US" sz="1400" dirty="0">
                <a:solidFill>
                  <a:srgbClr val="595959"/>
                </a:solidFill>
                <a:latin typeface="Arial" panose="020B0604020202020204" pitchFamily="34" charset="0"/>
              </a:rPr>
              <a:t>A simple example of a Binomial Distribution in action can be the toss of a </a:t>
            </a:r>
          </a:p>
          <a:p>
            <a:pPr algn="l"/>
            <a:r>
              <a:rPr lang="en-US" sz="1400" dirty="0">
                <a:solidFill>
                  <a:srgbClr val="595959"/>
                </a:solidFill>
                <a:latin typeface="Arial" panose="020B0604020202020204" pitchFamily="34" charset="0"/>
              </a:rPr>
              <a:t>biased/unbiased coin repeated a </a:t>
            </a:r>
            <a:r>
              <a:rPr lang="en-US" sz="1400" b="1" dirty="0">
                <a:solidFill>
                  <a:srgbClr val="595959"/>
                </a:solidFill>
                <a:latin typeface="Arial" panose="020B0604020202020204" pitchFamily="34" charset="0"/>
              </a:rPr>
              <a:t>certain amount of times</a:t>
            </a:r>
          </a:p>
          <a:p>
            <a:pPr algn="l"/>
            <a:endParaRPr lang="en-US" sz="1400" b="1" dirty="0">
              <a:solidFill>
                <a:srgbClr val="595959"/>
              </a:solidFill>
              <a:latin typeface="Arial" panose="020B0604020202020204" pitchFamily="34" charset="0"/>
            </a:endParaRPr>
          </a:p>
          <a:p>
            <a:pPr algn="l"/>
            <a:r>
              <a:rPr lang="en-US" sz="1400" b="1" dirty="0">
                <a:solidFill>
                  <a:srgbClr val="595959"/>
                </a:solidFill>
                <a:latin typeface="Arial" panose="020B0604020202020204" pitchFamily="34" charset="0"/>
              </a:rPr>
              <a:t>Q –</a:t>
            </a:r>
            <a:r>
              <a:rPr lang="en-US" sz="1400" dirty="0">
                <a:solidFill>
                  <a:srgbClr val="595959"/>
                </a:solidFill>
                <a:latin typeface="Arial" panose="020B0604020202020204" pitchFamily="34" charset="0"/>
              </a:rPr>
              <a:t> Flipping a coin 3 times, what is the probability of exactly getting 1 head and is this a binomial experiment??</a:t>
            </a:r>
          </a:p>
          <a:p>
            <a:pPr algn="l"/>
            <a:r>
              <a:rPr lang="en-US" sz="1400" dirty="0">
                <a:solidFill>
                  <a:srgbClr val="595959"/>
                </a:solidFill>
                <a:latin typeface="Arial" panose="020B0604020202020204" pitchFamily="34" charset="0"/>
              </a:rPr>
              <a:t>N = 3, X = 1</a:t>
            </a:r>
          </a:p>
          <a:p>
            <a:pPr algn="l"/>
            <a:r>
              <a:rPr lang="en-US" sz="1400" dirty="0">
                <a:solidFill>
                  <a:srgbClr val="595959"/>
                </a:solidFill>
                <a:latin typeface="Arial" panose="020B0604020202020204" pitchFamily="34" charset="0"/>
              </a:rPr>
              <a:t>P =0.5 (success)</a:t>
            </a:r>
          </a:p>
          <a:p>
            <a:pPr algn="l"/>
            <a:r>
              <a:rPr lang="en-US" sz="1400" dirty="0">
                <a:solidFill>
                  <a:srgbClr val="595959"/>
                </a:solidFill>
                <a:latin typeface="Arial" panose="020B0604020202020204" pitchFamily="34" charset="0"/>
              </a:rPr>
              <a:t>1-p = 0.5 (failure)</a:t>
            </a:r>
          </a:p>
          <a:p>
            <a:pPr algn="l"/>
            <a:endParaRPr lang="en-US" sz="1400" dirty="0">
              <a:solidFill>
                <a:srgbClr val="595959"/>
              </a:solidFill>
              <a:latin typeface="Arial" panose="020B0604020202020204" pitchFamily="34" charset="0"/>
            </a:endParaRPr>
          </a:p>
          <a:p>
            <a:pPr algn="l"/>
            <a:r>
              <a:rPr lang="en-US" sz="1400" b="1" dirty="0">
                <a:solidFill>
                  <a:srgbClr val="595959"/>
                </a:solidFill>
                <a:latin typeface="Arial" panose="020B0604020202020204" pitchFamily="34" charset="0"/>
              </a:rPr>
              <a:t>Parameters of Binomial Distribution - </a:t>
            </a:r>
          </a:p>
          <a:p>
            <a:pPr algn="l"/>
            <a:r>
              <a:rPr lang="en-US" sz="1400" b="1" dirty="0">
                <a:solidFill>
                  <a:srgbClr val="595959"/>
                </a:solidFill>
                <a:latin typeface="Arial" panose="020B0604020202020204" pitchFamily="34" charset="0"/>
              </a:rPr>
              <a:t>Mean of Binomial Distribution – </a:t>
            </a:r>
            <a:r>
              <a:rPr lang="en-US" sz="1400" dirty="0">
                <a:solidFill>
                  <a:srgbClr val="595959"/>
                </a:solidFill>
                <a:latin typeface="Arial" panose="020B0604020202020204" pitchFamily="34" charset="0"/>
              </a:rPr>
              <a:t>n X p = np</a:t>
            </a:r>
          </a:p>
          <a:p>
            <a:pPr algn="l"/>
            <a:r>
              <a:rPr lang="en-US" sz="1400" b="1" dirty="0">
                <a:solidFill>
                  <a:srgbClr val="595959"/>
                </a:solidFill>
                <a:latin typeface="Arial" panose="020B0604020202020204" pitchFamily="34" charset="0"/>
              </a:rPr>
              <a:t>Variance – </a:t>
            </a:r>
            <a:r>
              <a:rPr lang="en-US" sz="1400" dirty="0">
                <a:solidFill>
                  <a:srgbClr val="595959"/>
                </a:solidFill>
                <a:latin typeface="Arial" panose="020B0604020202020204" pitchFamily="34" charset="0"/>
              </a:rPr>
              <a:t>n X p X (1-p) = np(1-p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2D97341-F8E9-49F1-8447-41E911D9004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03491" y="1783309"/>
            <a:ext cx="3707855" cy="2535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715399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7A77CF-4B2E-4BB4-8502-B5379F280B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7066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7A77CF-4B2E-4BB4-8502-B5379F280B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4A1795F2-B498-44A2-86F5-CF5733A5AE0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4BCFEC9-A9BA-4EFF-ACA7-13B8E887DE7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1024" y="1404720"/>
            <a:ext cx="7302883" cy="4107871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A08B30C-39C7-45B0-8608-5DC6CC856E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0654" y="200740"/>
            <a:ext cx="10515600" cy="590372"/>
          </a:xfrm>
        </p:spPr>
        <p:txBody>
          <a:bodyPr>
            <a:noAutofit/>
          </a:bodyPr>
          <a:lstStyle/>
          <a:p>
            <a:r>
              <a:rPr lang="en-US" b="0" i="0" u="none" strike="noStrike" dirty="0">
                <a:solidFill>
                  <a:schemeClr val="accent1"/>
                </a:solidFill>
                <a:effectLst/>
                <a:latin typeface="Arial" panose="020B0604020202020204" pitchFamily="34" charset="0"/>
              </a:rPr>
              <a:t>Binomial Distributions </a:t>
            </a:r>
            <a:r>
              <a:rPr lang="en-US" b="0" i="0" u="none" strike="noStrike" dirty="0" err="1">
                <a:solidFill>
                  <a:schemeClr val="accent1"/>
                </a:solidFill>
                <a:effectLst/>
                <a:latin typeface="Arial" panose="020B0604020202020204" pitchFamily="34" charset="0"/>
              </a:rPr>
              <a:t>Contd</a:t>
            </a:r>
            <a:r>
              <a:rPr lang="en-US" b="0" i="0" u="none" strike="noStrike" dirty="0">
                <a:solidFill>
                  <a:schemeClr val="accent1"/>
                </a:solidFill>
                <a:effectLst/>
                <a:latin typeface="Arial" panose="020B0604020202020204" pitchFamily="34" charset="0"/>
              </a:rPr>
              <a:t>…</a:t>
            </a: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0D435CF-BCCC-4024-B749-2909F28F3B9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006028" y="1483836"/>
            <a:ext cx="3019311" cy="2083233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C68B8AE6-0E41-4E73-A864-3BD840858F60}"/>
              </a:ext>
            </a:extLst>
          </p:cNvPr>
          <p:cNvSpPr txBox="1"/>
          <p:nvPr/>
        </p:nvSpPr>
        <p:spPr>
          <a:xfrm>
            <a:off x="7660771" y="2294619"/>
            <a:ext cx="932873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b="1" dirty="0"/>
              <a:t>OR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7CDAABCE-04EC-4A38-8AE5-7DA83BA3667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518400" y="3788249"/>
            <a:ext cx="4582041" cy="199371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149FFD5-057F-4823-9548-AA941052AC6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051665" y="1483836"/>
            <a:ext cx="3019311" cy="20832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358633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7FD2C9D-36B9-4138-BB26-4A9B6F57D2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5849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7FD2C9D-36B9-4138-BB26-4A9B6F57D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3CB69D-7897-43A6-9BD4-98D9B668907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0B74324-4B4E-47F9-9DEA-035ECA45D7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0654" y="200740"/>
            <a:ext cx="10515600" cy="590372"/>
          </a:xfrm>
        </p:spPr>
        <p:txBody>
          <a:bodyPr>
            <a:noAutofit/>
          </a:bodyPr>
          <a:lstStyle/>
          <a:p>
            <a:r>
              <a:rPr lang="en-US" b="0" i="0" u="none" strike="noStrike" dirty="0">
                <a:solidFill>
                  <a:schemeClr val="accent1"/>
                </a:solidFill>
                <a:effectLst/>
                <a:latin typeface="Arial" panose="020B0604020202020204" pitchFamily="34" charset="0"/>
              </a:rPr>
              <a:t>Discrete Distributions </a:t>
            </a:r>
            <a:r>
              <a:rPr lang="en-US" b="0" i="0" u="none" strike="noStrike" dirty="0" err="1">
                <a:solidFill>
                  <a:schemeClr val="accent1"/>
                </a:solidFill>
                <a:effectLst/>
                <a:latin typeface="Arial" panose="020B0604020202020204" pitchFamily="34" charset="0"/>
              </a:rPr>
              <a:t>Contd</a:t>
            </a:r>
            <a:r>
              <a:rPr lang="en-US" b="0" i="0" u="none" strike="noStrike" dirty="0">
                <a:solidFill>
                  <a:schemeClr val="accent1"/>
                </a:solidFill>
                <a:effectLst/>
                <a:latin typeface="Arial" panose="020B0604020202020204" pitchFamily="34" charset="0"/>
              </a:rPr>
              <a:t>…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4265914-F9AB-4CD3-9C99-887EB92F44E4}"/>
              </a:ext>
            </a:extLst>
          </p:cNvPr>
          <p:cNvSpPr txBox="1"/>
          <p:nvPr/>
        </p:nvSpPr>
        <p:spPr>
          <a:xfrm>
            <a:off x="180654" y="817394"/>
            <a:ext cx="11919734" cy="58169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600" b="1" dirty="0">
                <a:solidFill>
                  <a:srgbClr val="595959"/>
                </a:solidFill>
                <a:latin typeface="Arial" panose="020B0604020202020204" pitchFamily="34" charset="0"/>
              </a:rPr>
              <a:t>Poisson Distribution –</a:t>
            </a:r>
            <a:r>
              <a:rPr lang="en-US" sz="2000" b="1" dirty="0">
                <a:solidFill>
                  <a:srgbClr val="595959"/>
                </a:solidFill>
                <a:latin typeface="Arial" panose="020B0604020202020204" pitchFamily="34" charset="0"/>
              </a:rPr>
              <a:t> </a:t>
            </a:r>
            <a:r>
              <a:rPr lang="en-US" sz="1400" dirty="0">
                <a:solidFill>
                  <a:srgbClr val="595959"/>
                </a:solidFill>
                <a:latin typeface="Arial" panose="020B0604020202020204" pitchFamily="34" charset="0"/>
              </a:rPr>
              <a:t>A Poisson random variable is a count of the number of occurrences of an event in a given unit of time, distance, area or a volume</a:t>
            </a:r>
            <a:endParaRPr lang="en-US" sz="1400" b="1" dirty="0">
              <a:solidFill>
                <a:srgbClr val="595959"/>
              </a:solidFill>
              <a:latin typeface="Arial" panose="020B0604020202020204" pitchFamily="34" charset="0"/>
            </a:endParaRPr>
          </a:p>
          <a:p>
            <a:pPr algn="l"/>
            <a:endParaRPr lang="en-US" sz="1400" dirty="0">
              <a:solidFill>
                <a:srgbClr val="595959"/>
              </a:solidFill>
              <a:latin typeface="Arial" panose="020B0604020202020204" pitchFamily="34" charset="0"/>
            </a:endParaRPr>
          </a:p>
          <a:p>
            <a:pPr algn="l"/>
            <a:r>
              <a:rPr lang="en-US" sz="1400" b="1" dirty="0">
                <a:solidFill>
                  <a:srgbClr val="595959"/>
                </a:solidFill>
                <a:latin typeface="Arial" panose="020B0604020202020204" pitchFamily="34" charset="0"/>
              </a:rPr>
              <a:t>Poisson Criteria -</a:t>
            </a:r>
          </a:p>
          <a:p>
            <a:pPr marL="18288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595959"/>
                </a:solidFill>
                <a:latin typeface="Arial" panose="020B0604020202020204" pitchFamily="34" charset="0"/>
              </a:rPr>
              <a:t>Discrete outcomes</a:t>
            </a:r>
          </a:p>
          <a:p>
            <a:pPr marL="18288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595959"/>
                </a:solidFill>
                <a:latin typeface="Arial" panose="020B0604020202020204" pitchFamily="34" charset="0"/>
              </a:rPr>
              <a:t>The number of occurrences in each interval can range from zero to infinity (theoretically)</a:t>
            </a:r>
          </a:p>
          <a:p>
            <a:pPr marL="18288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595959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Describes the distribution of infrequent (rare) events</a:t>
            </a:r>
          </a:p>
          <a:p>
            <a:pPr marL="18288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595959"/>
                </a:solidFill>
                <a:latin typeface="Arial" panose="020B0604020202020204" pitchFamily="34" charset="0"/>
              </a:rPr>
              <a:t>Each event is independent of the other events</a:t>
            </a:r>
          </a:p>
          <a:p>
            <a:pPr marL="18288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595959"/>
                </a:solidFill>
                <a:latin typeface="Arial" panose="020B0604020202020204" pitchFamily="34" charset="0"/>
              </a:rPr>
              <a:t>Describes discrete events over an interval</a:t>
            </a:r>
          </a:p>
          <a:p>
            <a:pPr marL="18288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595959"/>
                </a:solidFill>
                <a:latin typeface="Arial" panose="020B0604020202020204" pitchFamily="34" charset="0"/>
              </a:rPr>
              <a:t>Expected number of occurrences E(X) are assumed to be constant throughout the experiment.</a:t>
            </a:r>
          </a:p>
          <a:p>
            <a:pPr algn="l"/>
            <a:r>
              <a:rPr lang="en-US" sz="1400" b="1" dirty="0">
                <a:solidFill>
                  <a:srgbClr val="595959"/>
                </a:solidFill>
                <a:latin typeface="Arial" panose="020B0604020202020204" pitchFamily="34" charset="0"/>
              </a:rPr>
              <a:t>~Events are occurring randomly and independently </a:t>
            </a:r>
          </a:p>
          <a:p>
            <a:pPr algn="l"/>
            <a:endParaRPr lang="en-US" sz="1400" dirty="0">
              <a:solidFill>
                <a:srgbClr val="595959"/>
              </a:solidFill>
              <a:latin typeface="Arial" panose="020B0604020202020204" pitchFamily="34" charset="0"/>
            </a:endParaRPr>
          </a:p>
          <a:p>
            <a:pPr algn="l"/>
            <a:r>
              <a:rPr lang="en-US" sz="1400" b="1" dirty="0">
                <a:solidFill>
                  <a:srgbClr val="595959"/>
                </a:solidFill>
                <a:latin typeface="Arial" panose="020B0604020202020204" pitchFamily="34" charset="0"/>
              </a:rPr>
              <a:t>Note -</a:t>
            </a:r>
            <a:r>
              <a:rPr lang="en-US" sz="1400" dirty="0">
                <a:solidFill>
                  <a:srgbClr val="595959"/>
                </a:solidFill>
                <a:latin typeface="Arial" panose="020B0604020202020204" pitchFamily="34" charset="0"/>
              </a:rPr>
              <a:t> Poisson distribution with lambda = np, closely appx. Binomial distribution if n is large and p is small</a:t>
            </a:r>
            <a:endParaRPr lang="en-US" sz="1400" b="1" dirty="0">
              <a:solidFill>
                <a:srgbClr val="595959"/>
              </a:solidFill>
              <a:latin typeface="Arial" panose="020B0604020202020204" pitchFamily="34" charset="0"/>
            </a:endParaRPr>
          </a:p>
          <a:p>
            <a:pPr algn="l"/>
            <a:endParaRPr lang="en-US" sz="1400" b="1" dirty="0">
              <a:solidFill>
                <a:srgbClr val="595959"/>
              </a:solidFill>
              <a:latin typeface="Arial" panose="020B0604020202020204" pitchFamily="34" charset="0"/>
            </a:endParaRPr>
          </a:p>
          <a:p>
            <a:pPr algn="l"/>
            <a:r>
              <a:rPr lang="en-US" sz="1400" b="1" dirty="0">
                <a:solidFill>
                  <a:srgbClr val="595959"/>
                </a:solidFill>
                <a:latin typeface="Arial" panose="020B0604020202020204" pitchFamily="34" charset="0"/>
              </a:rPr>
              <a:t>Parameters of Poisson Distribution - </a:t>
            </a:r>
          </a:p>
          <a:p>
            <a:pPr algn="l"/>
            <a:r>
              <a:rPr lang="en-US" sz="1400" b="1" dirty="0">
                <a:solidFill>
                  <a:srgbClr val="595959"/>
                </a:solidFill>
                <a:latin typeface="Arial" panose="020B0604020202020204" pitchFamily="34" charset="0"/>
              </a:rPr>
              <a:t>Mean of Poisson Distribution – Lambda</a:t>
            </a:r>
          </a:p>
          <a:p>
            <a:pPr algn="l"/>
            <a:r>
              <a:rPr lang="en-US" sz="1400" b="1" dirty="0">
                <a:solidFill>
                  <a:srgbClr val="595959"/>
                </a:solidFill>
                <a:latin typeface="Arial" panose="020B0604020202020204" pitchFamily="34" charset="0"/>
              </a:rPr>
              <a:t>Variance – Lambda</a:t>
            </a:r>
          </a:p>
          <a:p>
            <a:pPr algn="l"/>
            <a:endParaRPr lang="en-US" sz="1400" b="1" dirty="0">
              <a:solidFill>
                <a:srgbClr val="595959"/>
              </a:solidFill>
              <a:latin typeface="Arial" panose="020B0604020202020204" pitchFamily="34" charset="0"/>
            </a:endParaRPr>
          </a:p>
          <a:p>
            <a:pPr algn="l"/>
            <a:r>
              <a:rPr lang="en-US" sz="1400" b="1" dirty="0">
                <a:solidFill>
                  <a:srgbClr val="595959"/>
                </a:solidFill>
                <a:latin typeface="Arial" panose="020B0604020202020204" pitchFamily="34" charset="0"/>
              </a:rPr>
              <a:t>Examples – </a:t>
            </a:r>
            <a:r>
              <a:rPr lang="en-US" sz="1400" dirty="0">
                <a:solidFill>
                  <a:srgbClr val="595959"/>
                </a:solidFill>
                <a:latin typeface="Arial" panose="020B0604020202020204" pitchFamily="34" charset="0"/>
              </a:rPr>
              <a:t> Let's say you are a cashier at Wal-Mart. It is 4:30pm and your shift ends at 5:00pm. The store policy is to close your checkout line 15 minutes before your shift ends (in this case 4:45) so that you van finish checking-out the customers already in your line and leave on-time.</a:t>
            </a:r>
          </a:p>
          <a:p>
            <a:pPr algn="l"/>
            <a:r>
              <a:rPr lang="en-US" sz="1400" dirty="0">
                <a:solidFill>
                  <a:srgbClr val="595959"/>
                </a:solidFill>
                <a:latin typeface="Arial" panose="020B0604020202020204" pitchFamily="34" charset="0"/>
              </a:rPr>
              <a:t>By examining overhead cameras, store data indicates that between 4:30pm and 4:45pm each weekday, an average of 10 customers enter any given checkout line.</a:t>
            </a:r>
          </a:p>
          <a:p>
            <a:pPr algn="l"/>
            <a:r>
              <a:rPr lang="en-US" sz="1400" dirty="0">
                <a:solidFill>
                  <a:srgbClr val="595959"/>
                </a:solidFill>
                <a:latin typeface="Arial" panose="020B0604020202020204" pitchFamily="34" charset="0"/>
              </a:rPr>
              <a:t>What is the probability that exactly 7 customers enter your line between 4:30 and 4:45</a:t>
            </a:r>
            <a:r>
              <a:rPr lang="en-US" sz="1400" dirty="0">
                <a:solidFill>
                  <a:srgbClr val="595959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? What is the probability that more than 10 people arrive</a:t>
            </a:r>
            <a:r>
              <a:rPr lang="en-US" sz="1400" dirty="0">
                <a:solidFill>
                  <a:srgbClr val="595959"/>
                </a:solidFill>
                <a:latin typeface="Arial" panose="020B0604020202020204" pitchFamily="34" charset="0"/>
              </a:rPr>
              <a:t>? (</a:t>
            </a:r>
            <a:r>
              <a:rPr lang="en-US" sz="1400" dirty="0">
                <a:solidFill>
                  <a:srgbClr val="595959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Which means you will probably be on shift later than 5:00pm)</a:t>
            </a:r>
            <a:endParaRPr lang="en-US" sz="1400" b="1" dirty="0">
              <a:solidFill>
                <a:srgbClr val="595959"/>
              </a:solidFill>
              <a:highlight>
                <a:srgbClr val="FFFF00"/>
              </a:highlight>
              <a:latin typeface="Arial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614500B-1DE4-4E51-913F-CE8B8AF2ABE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68946" y="3542016"/>
            <a:ext cx="2630328" cy="159506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86D4930-71F8-4DA9-A21F-32BE012294A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268946" y="1402258"/>
            <a:ext cx="2630329" cy="2000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145862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C90E577-C92D-4467-BB34-38250A2587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48527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C90E577-C92D-4467-BB34-38250A2587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>
            <a:extLst>
              <a:ext uri="{FF2B5EF4-FFF2-40B4-BE49-F238E27FC236}">
                <a16:creationId xmlns:a16="http://schemas.microsoft.com/office/drawing/2014/main" id="{3F80EA49-7F7F-43A8-91F0-D9CEA718F1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042" y="190051"/>
            <a:ext cx="11187113" cy="311150"/>
          </a:xfrm>
        </p:spPr>
        <p:txBody>
          <a:bodyPr vert="horz">
            <a:noAutofit/>
          </a:bodyPr>
          <a:lstStyle/>
          <a:p>
            <a:r>
              <a:rPr lang="en-US" sz="3200" dirty="0"/>
              <a:t>Density Curves – What are they &amp; Where they are coming from?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7D3584C-EE99-4A23-AFD1-D9943CF3BB46}"/>
              </a:ext>
            </a:extLst>
          </p:cNvPr>
          <p:cNvSpPr txBox="1"/>
          <p:nvPr/>
        </p:nvSpPr>
        <p:spPr>
          <a:xfrm>
            <a:off x="76200" y="2882751"/>
            <a:ext cx="1426029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ayPal Sans Big Light"/>
                <a:ea typeface="+mn-ea"/>
                <a:cs typeface="+mn-cs"/>
              </a:rPr>
              <a:t>N = 2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ayPal Sans Big Light"/>
                <a:ea typeface="+mn-ea"/>
                <a:cs typeface="+mn-cs"/>
              </a:rPr>
              <a:t>Weights in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ayPal Sans Big Light"/>
                <a:ea typeface="+mn-ea"/>
                <a:cs typeface="+mn-cs"/>
              </a:rPr>
              <a:t>lbs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ayPal Sans Big Light"/>
              <a:ea typeface="+mn-ea"/>
              <a:cs typeface="+mn-cs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9703DE8-8C84-48D0-AEDD-85C3B73FEE5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02799" y="925218"/>
            <a:ext cx="4114800" cy="2729221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F56B240D-7807-4C6A-AEA7-DC84F44A7B5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00289" y="925218"/>
            <a:ext cx="4114800" cy="2729221"/>
          </a:xfrm>
          <a:prstGeom prst="rect">
            <a:avLst/>
          </a:prstGeom>
        </p:spPr>
      </p:pic>
      <p:sp>
        <p:nvSpPr>
          <p:cNvPr id="17" name="Isosceles Triangle 16">
            <a:extLst>
              <a:ext uri="{FF2B5EF4-FFF2-40B4-BE49-F238E27FC236}">
                <a16:creationId xmlns:a16="http://schemas.microsoft.com/office/drawing/2014/main" id="{19EE5978-2BED-4EB9-97E6-E6DEB704B848}"/>
              </a:ext>
            </a:extLst>
          </p:cNvPr>
          <p:cNvSpPr/>
          <p:nvPr/>
        </p:nvSpPr>
        <p:spPr>
          <a:xfrm rot="5400000">
            <a:off x="5661069" y="2506831"/>
            <a:ext cx="1331092" cy="295576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ayPal Sans Big Light"/>
              <a:ea typeface="+mn-ea"/>
              <a:cs typeface="+mn-cs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D776379-40C1-4FF2-A25C-3C70C333AA4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88163" y="3744182"/>
            <a:ext cx="9326926" cy="2729221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A6EE1ED5-043C-408B-BAFF-B6FA0D7DCC44}"/>
              </a:ext>
            </a:extLst>
          </p:cNvPr>
          <p:cNvSpPr txBox="1"/>
          <p:nvPr/>
        </p:nvSpPr>
        <p:spPr>
          <a:xfrm>
            <a:off x="9374321" y="1881734"/>
            <a:ext cx="1426029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ayPal Sans Big Light"/>
                <a:ea typeface="+mn-ea"/>
                <a:cs typeface="+mn-cs"/>
              </a:rPr>
              <a:t>Proportions of Individuals</a:t>
            </a:r>
          </a:p>
        </p:txBody>
      </p:sp>
    </p:spTree>
    <p:extLst>
      <p:ext uri="{BB962C8B-B14F-4D97-AF65-F5344CB8AC3E}">
        <p14:creationId xmlns:p14="http://schemas.microsoft.com/office/powerpoint/2010/main" val="8618567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C90E577-C92D-4467-BB34-38250A2587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9094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C90E577-C92D-4467-BB34-38250A2587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C72CCFA0-AF9F-4948-8430-EE9FAAEC18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9977" y="353710"/>
            <a:ext cx="11187113" cy="311150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Where it is coming from – A Curve around the histogram itself…</a:t>
            </a:r>
          </a:p>
        </p:txBody>
      </p:sp>
      <p:sp>
        <p:nvSpPr>
          <p:cNvPr id="20" name="Isosceles Triangle 19">
            <a:extLst>
              <a:ext uri="{FF2B5EF4-FFF2-40B4-BE49-F238E27FC236}">
                <a16:creationId xmlns:a16="http://schemas.microsoft.com/office/drawing/2014/main" id="{69EB8D4F-C80E-4AA9-B00B-EE1036A0D9CF}"/>
              </a:ext>
            </a:extLst>
          </p:cNvPr>
          <p:cNvSpPr/>
          <p:nvPr/>
        </p:nvSpPr>
        <p:spPr>
          <a:xfrm rot="5400000">
            <a:off x="5658384" y="2298119"/>
            <a:ext cx="1331092" cy="295576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ayPal Sans Big Light"/>
              <a:ea typeface="+mn-ea"/>
              <a:cs typeface="+mn-cs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F80DA37E-1585-4CC7-B379-EF96861F4F1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61933" y="988131"/>
            <a:ext cx="4038670" cy="272922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07FAB6F5-C169-4BE8-AB49-721DAF9B77E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72876" y="988131"/>
            <a:ext cx="4038670" cy="2729222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C2F2E831-D63C-4A32-8BF5-BE89D7535AD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61933" y="3805299"/>
            <a:ext cx="4038670" cy="2697723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BDA6F214-6C47-4B1F-8E34-F8966B3B2E3A}"/>
              </a:ext>
            </a:extLst>
          </p:cNvPr>
          <p:cNvSpPr txBox="1"/>
          <p:nvPr/>
        </p:nvSpPr>
        <p:spPr>
          <a:xfrm>
            <a:off x="6929368" y="3990653"/>
            <a:ext cx="4125686" cy="27699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9600">
                    <a:lumMod val="75000"/>
                  </a:srgbClr>
                </a:solidFill>
                <a:effectLst/>
                <a:uLnTx/>
                <a:uFillTx/>
                <a:latin typeface="PayPal Sans Big Light"/>
                <a:ea typeface="+mn-ea"/>
                <a:cs typeface="+mn-cs"/>
              </a:rPr>
              <a:t>Uses of Histogram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ayPal Sans Big Light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ayPal Sans Big Light"/>
                <a:ea typeface="+mn-ea"/>
                <a:cs typeface="+mn-cs"/>
              </a:rPr>
              <a:t>Histograms depends upon how we construct it and depends upon number of intervals we are considering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ayPal Sans Big Light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PayPal Sans Big Light"/>
                <a:ea typeface="+mn-ea"/>
                <a:cs typeface="+mn-cs"/>
              </a:rPr>
              <a:t>Density curves consider infinite amount of intervals – Independent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ayPal Sans Big Light"/>
                <a:ea typeface="+mn-ea"/>
                <a:cs typeface="+mn-cs"/>
              </a:rPr>
              <a:t>Uses of density curves – more popular</a:t>
            </a:r>
          </a:p>
        </p:txBody>
      </p:sp>
    </p:spTree>
    <p:extLst>
      <p:ext uri="{BB962C8B-B14F-4D97-AF65-F5344CB8AC3E}">
        <p14:creationId xmlns:p14="http://schemas.microsoft.com/office/powerpoint/2010/main" val="25565863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3AA50D-94E2-4653-8C72-BE83258C7F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0771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3AA50D-94E2-4653-8C72-BE83258C7F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068675DC-12A7-4C21-8AE5-8762FEA607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5809" y="370435"/>
            <a:ext cx="11187113" cy="311150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Uses of Density Curves – As Population/Sample size increases…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33CBCA1-C079-40B7-84F3-EC843F1D453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52395" y="1048509"/>
            <a:ext cx="4038670" cy="246653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27F4AA2-B779-4005-A986-0FB7444519C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60435" y="1048510"/>
            <a:ext cx="4038670" cy="246653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B473726-7B6E-476A-B861-B4D165C8682C}"/>
              </a:ext>
            </a:extLst>
          </p:cNvPr>
          <p:cNvSpPr txBox="1"/>
          <p:nvPr/>
        </p:nvSpPr>
        <p:spPr>
          <a:xfrm>
            <a:off x="7239001" y="1104714"/>
            <a:ext cx="218802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ayPal Sans Big Light"/>
                <a:ea typeface="+mn-ea"/>
                <a:cs typeface="+mn-cs"/>
              </a:rPr>
              <a:t>Might be inaccurate on small samp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E0637DC-261F-4BDD-A2B2-09BC67CC082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60439" y="3975049"/>
            <a:ext cx="4038670" cy="2729221"/>
          </a:xfrm>
          <a:prstGeom prst="rect">
            <a:avLst/>
          </a:prstGeom>
        </p:spPr>
      </p:pic>
      <p:sp>
        <p:nvSpPr>
          <p:cNvPr id="10" name="Isosceles Triangle 9">
            <a:extLst>
              <a:ext uri="{FF2B5EF4-FFF2-40B4-BE49-F238E27FC236}">
                <a16:creationId xmlns:a16="http://schemas.microsoft.com/office/drawing/2014/main" id="{66092C8E-21F2-460C-9A2E-6661860D14D3}"/>
              </a:ext>
            </a:extLst>
          </p:cNvPr>
          <p:cNvSpPr/>
          <p:nvPr/>
        </p:nvSpPr>
        <p:spPr>
          <a:xfrm rot="5400000">
            <a:off x="5900447" y="2310462"/>
            <a:ext cx="1331092" cy="295576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ayPal Sans Big Light"/>
              <a:ea typeface="+mn-ea"/>
              <a:cs typeface="+mn-cs"/>
            </a:endParaRPr>
          </a:p>
        </p:txBody>
      </p:sp>
      <p:sp>
        <p:nvSpPr>
          <p:cNvPr id="11" name="Isosceles Triangle 10">
            <a:extLst>
              <a:ext uri="{FF2B5EF4-FFF2-40B4-BE49-F238E27FC236}">
                <a16:creationId xmlns:a16="http://schemas.microsoft.com/office/drawing/2014/main" id="{ECC1066E-EB31-44E9-8DCF-597DB845060F}"/>
              </a:ext>
            </a:extLst>
          </p:cNvPr>
          <p:cNvSpPr/>
          <p:nvPr/>
        </p:nvSpPr>
        <p:spPr>
          <a:xfrm rot="10800000">
            <a:off x="8514224" y="3582138"/>
            <a:ext cx="1331092" cy="295576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ayPal Sans Big Light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8839B27-6718-4770-84F4-349EE7BA977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52395" y="3994790"/>
            <a:ext cx="4038670" cy="2729221"/>
          </a:xfrm>
          <a:prstGeom prst="rect">
            <a:avLst/>
          </a:prstGeom>
        </p:spPr>
      </p:pic>
      <p:sp>
        <p:nvSpPr>
          <p:cNvPr id="13" name="Isosceles Triangle 12">
            <a:extLst>
              <a:ext uri="{FF2B5EF4-FFF2-40B4-BE49-F238E27FC236}">
                <a16:creationId xmlns:a16="http://schemas.microsoft.com/office/drawing/2014/main" id="{F29247CF-4C08-47C2-907D-6532E1DF562D}"/>
              </a:ext>
            </a:extLst>
          </p:cNvPr>
          <p:cNvSpPr/>
          <p:nvPr/>
        </p:nvSpPr>
        <p:spPr>
          <a:xfrm rot="16200000">
            <a:off x="5752659" y="5063824"/>
            <a:ext cx="1331092" cy="295576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ayPal Sans Big Light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B7AF7AF-F0CA-4A73-AFF1-8E37DED97D7B}"/>
              </a:ext>
            </a:extLst>
          </p:cNvPr>
          <p:cNvSpPr txBox="1"/>
          <p:nvPr/>
        </p:nvSpPr>
        <p:spPr>
          <a:xfrm>
            <a:off x="4037652" y="4136743"/>
            <a:ext cx="174171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ayPal Sans Big Light"/>
                <a:ea typeface="+mn-ea"/>
                <a:cs typeface="+mn-cs"/>
              </a:rPr>
              <a:t>Area of Interest</a:t>
            </a:r>
          </a:p>
        </p:txBody>
      </p:sp>
      <p:sp>
        <p:nvSpPr>
          <p:cNvPr id="15" name="Arrow: Left 14">
            <a:extLst>
              <a:ext uri="{FF2B5EF4-FFF2-40B4-BE49-F238E27FC236}">
                <a16:creationId xmlns:a16="http://schemas.microsoft.com/office/drawing/2014/main" id="{E6B88A05-A2B8-431C-A4AE-D52EB697FC55}"/>
              </a:ext>
            </a:extLst>
          </p:cNvPr>
          <p:cNvSpPr/>
          <p:nvPr/>
        </p:nvSpPr>
        <p:spPr>
          <a:xfrm rot="18660856">
            <a:off x="4556553" y="4716152"/>
            <a:ext cx="741238" cy="347863"/>
          </a:xfrm>
          <a:prstGeom prst="leftArrow">
            <a:avLst/>
          </a:prstGeom>
          <a:solidFill>
            <a:srgbClr val="ED13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ayPal Sans Big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64757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F648BD9-4AD6-4B3D-B00B-B154450C2A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96243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F648BD9-4AD6-4B3D-B00B-B154450C2A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FCBB248-4DFD-41B3-BAA2-BBC7C388911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2440C3A-A635-4CB2-AABA-F385CCC65A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925" y="288925"/>
            <a:ext cx="10515600" cy="587375"/>
          </a:xfrm>
        </p:spPr>
        <p:txBody>
          <a:bodyPr>
            <a:normAutofit fontScale="90000"/>
          </a:bodyPr>
          <a:lstStyle/>
          <a:p>
            <a:pPr rtl="0">
              <a:spcBef>
                <a:spcPts val="0"/>
              </a:spcBef>
              <a:spcAft>
                <a:spcPts val="0"/>
              </a:spcAft>
            </a:pPr>
            <a:r>
              <a:rPr lang="en-US" sz="4400" b="0" i="0" u="none" strike="noStrike" dirty="0">
                <a:solidFill>
                  <a:schemeClr val="accent1"/>
                </a:solidFill>
                <a:effectLst/>
                <a:latin typeface="Arial" panose="020B0604020202020204" pitchFamily="34" charset="0"/>
              </a:rPr>
              <a:t>Sampling and Population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3B6540-D072-4BE4-9C5D-272364F024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1925" y="1151730"/>
            <a:ext cx="11782425" cy="858045"/>
          </a:xfrm>
        </p:spPr>
        <p:txBody>
          <a:bodyPr anchor="ctr">
            <a:normAutofit/>
          </a:bodyPr>
          <a:lstStyle/>
          <a:p>
            <a:pPr marL="0" indent="0" rtl="0">
              <a:spcBef>
                <a:spcPts val="0"/>
              </a:spcBef>
              <a:spcAft>
                <a:spcPts val="1600"/>
              </a:spcAft>
              <a:buNone/>
            </a:pPr>
            <a:r>
              <a:rPr lang="en-US" sz="1800" b="1" i="0" u="none" strike="noStrike" dirty="0">
                <a:solidFill>
                  <a:srgbClr val="595959"/>
                </a:solidFill>
                <a:effectLst/>
                <a:latin typeface="Arial" panose="020B0604020202020204" pitchFamily="34" charset="0"/>
              </a:rPr>
              <a:t>Population -</a:t>
            </a:r>
            <a:r>
              <a:rPr lang="en-US" sz="1800" b="0" i="0" u="none" strike="noStrike" dirty="0">
                <a:solidFill>
                  <a:srgbClr val="595959"/>
                </a:solidFill>
                <a:effectLst/>
                <a:latin typeface="Arial" panose="020B0604020202020204" pitchFamily="34" charset="0"/>
              </a:rPr>
              <a:t> True population is entire collection of data which we want to analyze, describe and draw conclusions about</a:t>
            </a:r>
            <a:endParaRPr lang="en-US" b="0" dirty="0">
              <a:effectLst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AFA8401-552E-4553-BC40-E3ADD2CAF096}"/>
              </a:ext>
            </a:extLst>
          </p:cNvPr>
          <p:cNvSpPr txBox="1">
            <a:spLocks/>
          </p:cNvSpPr>
          <p:nvPr/>
        </p:nvSpPr>
        <p:spPr>
          <a:xfrm>
            <a:off x="161925" y="4742678"/>
            <a:ext cx="11782425" cy="65584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</a:pPr>
            <a:r>
              <a:rPr lang="en-US" sz="1800" b="1" dirty="0">
                <a:solidFill>
                  <a:srgbClr val="595959"/>
                </a:solidFill>
                <a:latin typeface="Arial" panose="020B0604020202020204" pitchFamily="34" charset="0"/>
              </a:rPr>
              <a:t>Sample –</a:t>
            </a:r>
            <a:r>
              <a:rPr lang="en-US" sz="1800" dirty="0">
                <a:solidFill>
                  <a:srgbClr val="595959"/>
                </a:solidFill>
                <a:latin typeface="Arial" panose="020B0604020202020204" pitchFamily="34" charset="0"/>
              </a:rPr>
              <a:t> The part of true population that we actually examine in order to gather information and draw valid conclusion about the larger group</a:t>
            </a:r>
            <a:endParaRPr lang="en-US" dirty="0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20D6E70D-6958-4D4C-A643-C1934D9793B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5334" y="2156623"/>
            <a:ext cx="2757488" cy="2279266"/>
          </a:xfrm>
          <a:prstGeom prst="rect">
            <a:avLst/>
          </a:prstGeom>
        </p:spPr>
      </p:pic>
      <p:sp>
        <p:nvSpPr>
          <p:cNvPr id="26" name="Arrow: Right 25">
            <a:extLst>
              <a:ext uri="{FF2B5EF4-FFF2-40B4-BE49-F238E27FC236}">
                <a16:creationId xmlns:a16="http://schemas.microsoft.com/office/drawing/2014/main" id="{B94019CE-0182-4CD8-AB65-B3510238F35E}"/>
              </a:ext>
            </a:extLst>
          </p:cNvPr>
          <p:cNvSpPr/>
          <p:nvPr/>
        </p:nvSpPr>
        <p:spPr>
          <a:xfrm>
            <a:off x="4819650" y="2972405"/>
            <a:ext cx="1276350" cy="532795"/>
          </a:xfrm>
          <a:prstGeom prst="rightArrow">
            <a:avLst>
              <a:gd name="adj1" fmla="val 50000"/>
              <a:gd name="adj2" fmla="val 51622"/>
            </a:avLst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0" dirty="0">
                <a:effectLst/>
              </a:rPr>
              <a:t> </a:t>
            </a:r>
            <a:endParaRPr lang="en-US" dirty="0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725F5DDE-CACA-4DEA-9EF4-A0E1C504713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56332" y="2156623"/>
            <a:ext cx="3616832" cy="2279266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0C1829BB-3401-4B9D-BC5C-F04200AC8965}"/>
              </a:ext>
            </a:extLst>
          </p:cNvPr>
          <p:cNvSpPr txBox="1"/>
          <p:nvPr/>
        </p:nvSpPr>
        <p:spPr>
          <a:xfrm>
            <a:off x="161925" y="5724359"/>
            <a:ext cx="108585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Note – We should always be unbiased towards picking up a sample since it may draw incorrect conclusions</a:t>
            </a:r>
          </a:p>
        </p:txBody>
      </p:sp>
    </p:spTree>
    <p:extLst>
      <p:ext uri="{BB962C8B-B14F-4D97-AF65-F5344CB8AC3E}">
        <p14:creationId xmlns:p14="http://schemas.microsoft.com/office/powerpoint/2010/main" val="133466720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D6DB957-665E-46AB-B73F-6CD0C1BB65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0847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D6DB957-665E-46AB-B73F-6CD0C1BB65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>
            <a:extLst>
              <a:ext uri="{FF2B5EF4-FFF2-40B4-BE49-F238E27FC236}">
                <a16:creationId xmlns:a16="http://schemas.microsoft.com/office/drawing/2014/main" id="{CD8A2BF8-8646-4A8F-A0E6-430BE96944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524" y="524923"/>
            <a:ext cx="11187113" cy="311150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Practice Questions - 1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33D5B15-B16B-45DD-97CC-D34A7755548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1075" y="964652"/>
            <a:ext cx="10543977" cy="4928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461951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8B3DBD4D-7732-4F52-9A74-83B4B48B6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6216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8B3DBD4D-7732-4F52-9A74-83B4B48B6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>
            <a:extLst>
              <a:ext uri="{FF2B5EF4-FFF2-40B4-BE49-F238E27FC236}">
                <a16:creationId xmlns:a16="http://schemas.microsoft.com/office/drawing/2014/main" id="{D206B5E0-14E0-4D12-8D09-A380A0BF4D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443" y="235186"/>
            <a:ext cx="11187113" cy="311150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Normal Distribution – A special type of density curv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CFB4AE7-DCE2-401B-B2CE-32D7D847245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05942" y="5507507"/>
            <a:ext cx="3002756" cy="76109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EB5B822-E710-46DA-9A87-E81969CFFD9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57738" y="5703560"/>
            <a:ext cx="2171814" cy="42951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00190BF-8627-4A49-B793-D6299E36BF5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7359" y="830138"/>
            <a:ext cx="6769214" cy="45896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41BA4C2-D46B-4011-A4AC-DFB49D48A1D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393613" y="1116466"/>
            <a:ext cx="4548015" cy="186621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B21CCF2-2ED1-4079-BF99-3C4F213A8AEB}"/>
              </a:ext>
            </a:extLst>
          </p:cNvPr>
          <p:cNvSpPr txBox="1"/>
          <p:nvPr/>
        </p:nvSpPr>
        <p:spPr>
          <a:xfrm flipH="1">
            <a:off x="7393614" y="740228"/>
            <a:ext cx="307844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Mean – </a:t>
            </a:r>
            <a:r>
              <a:rPr lang="en-US" dirty="0">
                <a:solidFill>
                  <a:schemeClr val="tx2"/>
                </a:solidFill>
              </a:rPr>
              <a:t>Position of bell curv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FDE4423-8307-44CA-A81D-E90C461560AA}"/>
              </a:ext>
            </a:extLst>
          </p:cNvPr>
          <p:cNvSpPr txBox="1"/>
          <p:nvPr/>
        </p:nvSpPr>
        <p:spPr>
          <a:xfrm flipH="1">
            <a:off x="7306626" y="3267075"/>
            <a:ext cx="454801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accent6">
                    <a:lumMod val="50000"/>
                  </a:schemeClr>
                </a:solidFill>
              </a:rPr>
              <a:t>Standard deviation – </a:t>
            </a:r>
            <a:r>
              <a:rPr lang="en-US" sz="1600" dirty="0">
                <a:solidFill>
                  <a:schemeClr val="accent6">
                    <a:lumMod val="50000"/>
                  </a:schemeClr>
                </a:solidFill>
              </a:rPr>
              <a:t>Shape/Spread of bell curv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4B20DA8-DAAC-4BCA-8781-5FC620E43FA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306626" y="3559625"/>
            <a:ext cx="2229260" cy="152050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269A8D3-94D5-4300-BB99-C266887DC4B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821479" y="3559069"/>
            <a:ext cx="2229260" cy="151234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F1F642A-FDD0-481F-8391-E9F0DBCE0FE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706848" y="5162146"/>
            <a:ext cx="2229261" cy="1512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413600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9F49E3D-B9B6-41CA-A6B9-58747DC15E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75454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9F49E3D-B9B6-41CA-A6B9-58747DC15E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>
            <a:extLst>
              <a:ext uri="{FF2B5EF4-FFF2-40B4-BE49-F238E27FC236}">
                <a16:creationId xmlns:a16="http://schemas.microsoft.com/office/drawing/2014/main" id="{38AE7E93-8B22-4561-B77D-7942B5C2E4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443" y="235186"/>
            <a:ext cx="11187113" cy="311150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Normal Distribution – the 68-95-99.7 Ru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854E8F2-88E0-41E0-96D0-B7EF36E9CCB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4750" y="718457"/>
            <a:ext cx="5881249" cy="4949856"/>
          </a:xfrm>
          <a:prstGeom prst="rect">
            <a:avLst/>
          </a:prstGeom>
        </p:spPr>
      </p:pic>
      <p:grpSp>
        <p:nvGrpSpPr>
          <p:cNvPr id="6" name="Group 1">
            <a:extLst>
              <a:ext uri="{FF2B5EF4-FFF2-40B4-BE49-F238E27FC236}">
                <a16:creationId xmlns:a16="http://schemas.microsoft.com/office/drawing/2014/main" id="{283EC34D-3CB6-4CA5-9729-657A1EEEDAE1}"/>
              </a:ext>
            </a:extLst>
          </p:cNvPr>
          <p:cNvGrpSpPr>
            <a:grpSpLocks/>
          </p:cNvGrpSpPr>
          <p:nvPr/>
        </p:nvGrpSpPr>
        <p:grpSpPr bwMode="auto">
          <a:xfrm>
            <a:off x="6498771" y="1959428"/>
            <a:ext cx="5380507" cy="2710543"/>
            <a:chOff x="504825" y="3976688"/>
            <a:chExt cx="8105775" cy="2490787"/>
          </a:xfrm>
        </p:grpSpPr>
        <p:pic>
          <p:nvPicPr>
            <p:cNvPr id="7" name="Picture 3">
              <a:extLst>
                <a:ext uri="{FF2B5EF4-FFF2-40B4-BE49-F238E27FC236}">
                  <a16:creationId xmlns:a16="http://schemas.microsoft.com/office/drawing/2014/main" id="{5B751B8E-1A63-491D-8FD7-4779952A360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4825" y="3976688"/>
              <a:ext cx="8105775" cy="24907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Picture 4">
              <a:extLst>
                <a:ext uri="{FF2B5EF4-FFF2-40B4-BE49-F238E27FC236}">
                  <a16:creationId xmlns:a16="http://schemas.microsoft.com/office/drawing/2014/main" id="{2B7DB1E7-43B6-479B-9D44-61100259B43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7857" y="4339821"/>
              <a:ext cx="2689136" cy="3094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86340700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B865EA7-914C-4038-8A65-18CF867314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2934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B865EA7-914C-4038-8A65-18CF867314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8BE925D7-A3C1-4861-ACD2-48400DF17E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443" y="333158"/>
            <a:ext cx="11187113" cy="311150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Practice Questions - 1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3C8AA84-815E-46BB-8414-AEBFBCE6864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2442" y="830593"/>
            <a:ext cx="11330329" cy="5196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985318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5FAFAFD-0C91-4718-B813-4092CB366B9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30273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5FAFAFD-0C91-4718-B813-4092CB366B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>
            <a:extLst>
              <a:ext uri="{FF2B5EF4-FFF2-40B4-BE49-F238E27FC236}">
                <a16:creationId xmlns:a16="http://schemas.microsoft.com/office/drawing/2014/main" id="{B0AEDD23-477F-44C0-A170-5C7BDCB90D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443" y="333158"/>
            <a:ext cx="11187113" cy="311150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Practice Questions - 1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9B2CDC9-F061-4EF9-B09C-F2115ADBF2B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2443" y="933405"/>
            <a:ext cx="11417414" cy="5133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196305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98359D9-7F49-4497-97EF-40ED3E7F6E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61544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98359D9-7F49-4497-97EF-40ED3E7F6E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08CB3DC3-6C82-4C7B-99C1-3E514F42AD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76" y="359001"/>
            <a:ext cx="11187113" cy="311150"/>
          </a:xfrm>
        </p:spPr>
        <p:txBody>
          <a:bodyPr vert="horz">
            <a:noAutofit/>
          </a:bodyPr>
          <a:lstStyle/>
          <a:p>
            <a:r>
              <a:rPr lang="en-US" sz="3600" dirty="0"/>
              <a:t>Standard Normal Distribution – A special type of Normal Distribut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EE2EA13-486E-4188-BA47-87CF83FAE4B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4805" y="5307842"/>
            <a:ext cx="2171814" cy="42951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565B36D-6C7C-4EDA-B69C-17EC0DE898E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4805" y="1020653"/>
            <a:ext cx="6696218" cy="384085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EEDD156-26E6-442D-9F90-94C01A91517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81327" y="1020653"/>
            <a:ext cx="4138530" cy="245217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9645533-3D5A-449D-8326-71F12CC520E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81327" y="3635421"/>
            <a:ext cx="4138530" cy="245218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F106962-270B-4C29-806E-5AE44097DDE1}"/>
              </a:ext>
            </a:extLst>
          </p:cNvPr>
          <p:cNvSpPr txBox="1"/>
          <p:nvPr/>
        </p:nvSpPr>
        <p:spPr>
          <a:xfrm flipH="1">
            <a:off x="205881" y="1824397"/>
            <a:ext cx="250371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Mean – 0</a:t>
            </a:r>
          </a:p>
          <a:p>
            <a:pPr algn="ctr"/>
            <a:r>
              <a:rPr lang="en-US" b="1" dirty="0">
                <a:solidFill>
                  <a:schemeClr val="bg1"/>
                </a:solidFill>
              </a:rPr>
              <a:t>Standard deviation - 1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7F0A1A-F5FD-42B6-870B-3922C579E77B}"/>
              </a:ext>
            </a:extLst>
          </p:cNvPr>
          <p:cNvSpPr txBox="1"/>
          <p:nvPr/>
        </p:nvSpPr>
        <p:spPr>
          <a:xfrm flipH="1">
            <a:off x="7882334" y="1284107"/>
            <a:ext cx="134680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b="1" dirty="0"/>
              <a:t>2 </a:t>
            </a:r>
            <a:r>
              <a:rPr lang="en-US" b="1" dirty="0" err="1"/>
              <a:t>s.d.</a:t>
            </a:r>
            <a:r>
              <a:rPr lang="en-US" b="1" dirty="0"/>
              <a:t> right from mea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64E82F3-F1F0-4D58-AB1B-3CF3CD0E633F}"/>
              </a:ext>
            </a:extLst>
          </p:cNvPr>
          <p:cNvSpPr txBox="1"/>
          <p:nvPr/>
        </p:nvSpPr>
        <p:spPr>
          <a:xfrm flipH="1">
            <a:off x="7882334" y="3740282"/>
            <a:ext cx="134680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b="1" dirty="0"/>
              <a:t>2 </a:t>
            </a:r>
            <a:r>
              <a:rPr lang="en-US" b="1" dirty="0" err="1"/>
              <a:t>s.d.</a:t>
            </a:r>
            <a:r>
              <a:rPr lang="en-US" b="1" dirty="0"/>
              <a:t> left from mean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74BF8CC-AA43-44E0-A2A5-D4D09B13CD2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854891" y="5078974"/>
            <a:ext cx="2445517" cy="941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278105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A3264AA-A0B7-41D7-8879-C55FED11F5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78310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A3264AA-A0B7-41D7-8879-C55FED11F5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2D590779-9EEB-4998-88EA-C96D778C64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322" y="359190"/>
            <a:ext cx="11187113" cy="311150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Standard Normal Distribution – How &amp; Why do we calculate Z-Scor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1F1F2F1-85B2-4194-AC4F-69D21F51735E}"/>
              </a:ext>
            </a:extLst>
          </p:cNvPr>
          <p:cNvSpPr txBox="1"/>
          <p:nvPr/>
        </p:nvSpPr>
        <p:spPr>
          <a:xfrm flipH="1">
            <a:off x="175059" y="1886042"/>
            <a:ext cx="250371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ayPal Sans Big Light"/>
                <a:ea typeface="+mn-ea"/>
                <a:cs typeface="+mn-cs"/>
              </a:rPr>
              <a:t>Mean – 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ayPal Sans Big Light"/>
                <a:ea typeface="+mn-ea"/>
                <a:cs typeface="+mn-cs"/>
              </a:rPr>
              <a:t>Standard deviation - 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3C9DFB8-9EFE-4AB4-BE0C-8EEE3F7B463C}"/>
              </a:ext>
            </a:extLst>
          </p:cNvPr>
          <p:cNvSpPr txBox="1"/>
          <p:nvPr/>
        </p:nvSpPr>
        <p:spPr>
          <a:xfrm flipH="1">
            <a:off x="242285" y="1052130"/>
            <a:ext cx="1088718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ayPal Sans Big Light"/>
                <a:ea typeface="+mn-ea"/>
                <a:cs typeface="+mn-cs"/>
              </a:rPr>
              <a:t>Any Normal distribution can be converted into Standard normal distribut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754DCD5-E2FA-4911-B26F-69EC67C3A3B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5059" y="1329129"/>
            <a:ext cx="6946033" cy="478056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C6567E5-718B-4A0F-88A0-6F4D37336E1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30287" y="2374157"/>
            <a:ext cx="3928447" cy="269051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9AEE72A-4F21-44A3-98DC-75ED1CE1E25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49935" y="1470174"/>
            <a:ext cx="2171814" cy="429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021866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442B776E-2EB0-4859-9A9E-9B5640C64D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4639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442B776E-2EB0-4859-9A9E-9B5640C64D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>
            <a:extLst>
              <a:ext uri="{FF2B5EF4-FFF2-40B4-BE49-F238E27FC236}">
                <a16:creationId xmlns:a16="http://schemas.microsoft.com/office/drawing/2014/main" id="{BBDD49AE-8992-40C7-AE8C-B43F4E95D9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443" y="137215"/>
            <a:ext cx="11187113" cy="311150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Standard Normal Distribution – Area of Z-score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522DE08-A1CC-47E4-92FF-A452276C9DC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7781" y="5070374"/>
            <a:ext cx="2171814" cy="42951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AACAA24-E771-457B-B1C7-F73C00123FBA}"/>
              </a:ext>
            </a:extLst>
          </p:cNvPr>
          <p:cNvSpPr txBox="1"/>
          <p:nvPr/>
        </p:nvSpPr>
        <p:spPr>
          <a:xfrm flipH="1">
            <a:off x="205881" y="1567543"/>
            <a:ext cx="250371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ayPal Sans Big Light"/>
                <a:ea typeface="+mn-ea"/>
                <a:cs typeface="+mn-cs"/>
              </a:rPr>
              <a:t>Mean – 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ayPal Sans Big Light"/>
                <a:ea typeface="+mn-ea"/>
                <a:cs typeface="+mn-cs"/>
              </a:rPr>
              <a:t>Standard deviation - 1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52BF7318-6921-4355-A56C-05BBB1C97B5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02844" y="762268"/>
            <a:ext cx="4683276" cy="249220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D57463B5-064F-445D-A7E5-3D6EB440B83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3281" y="762268"/>
            <a:ext cx="6746233" cy="3974192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1B73B89F-23C5-496B-ABF5-040876023BF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302843" y="3346401"/>
            <a:ext cx="4683276" cy="2634343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B9B1DF8A-9888-4DA2-97DF-4CD48951B35C}"/>
              </a:ext>
            </a:extLst>
          </p:cNvPr>
          <p:cNvSpPr txBox="1"/>
          <p:nvPr/>
        </p:nvSpPr>
        <p:spPr>
          <a:xfrm flipH="1">
            <a:off x="7302843" y="6117350"/>
            <a:ext cx="468327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lvl="0" indent="-2857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ayPal Sans Big Light"/>
                <a:ea typeface="+mn-ea"/>
                <a:cs typeface="+mn-cs"/>
              </a:rPr>
              <a:t>Rows and Columns Z-Scores</a:t>
            </a:r>
          </a:p>
          <a:p>
            <a:pPr marL="285750" marR="0" lvl="0" indent="-2857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ayPal Sans Big Light"/>
                <a:ea typeface="+mn-ea"/>
                <a:cs typeface="+mn-cs"/>
              </a:rPr>
              <a:t>Area (percentiles/percentage values inside the tables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B7D2417-80A1-48BB-A3D2-BDDBB5B4F30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203233" y="5038992"/>
            <a:ext cx="2445517" cy="941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579275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41EDDECD-71DF-4BCB-82E9-6833F4539C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5692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41EDDECD-71DF-4BCB-82E9-6833F4539C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>
            <a:extLst>
              <a:ext uri="{FF2B5EF4-FFF2-40B4-BE49-F238E27FC236}">
                <a16:creationId xmlns:a16="http://schemas.microsoft.com/office/drawing/2014/main" id="{93BC1A44-A812-45DA-B485-7716B3C2F9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1621" y="676975"/>
            <a:ext cx="11187113" cy="311150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Standard Normal Distribution – How do we calculate Z-Scores </a:t>
            </a:r>
            <a:r>
              <a:rPr lang="en-US" dirty="0" err="1"/>
              <a:t>contd</a:t>
            </a:r>
            <a:r>
              <a:rPr lang="en-US" dirty="0"/>
              <a:t>…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E05347D-3865-4CC7-AB22-B9817DBE80C1}"/>
              </a:ext>
            </a:extLst>
          </p:cNvPr>
          <p:cNvSpPr txBox="1"/>
          <p:nvPr/>
        </p:nvSpPr>
        <p:spPr>
          <a:xfrm flipH="1">
            <a:off x="175059" y="2009332"/>
            <a:ext cx="250371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ayPal Sans Big Light"/>
                <a:ea typeface="+mn-ea"/>
                <a:cs typeface="+mn-cs"/>
              </a:rPr>
              <a:t>Mean – 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ayPal Sans Big Light"/>
                <a:ea typeface="+mn-ea"/>
                <a:cs typeface="+mn-cs"/>
              </a:rPr>
              <a:t>Standard deviation - 1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8E75B4D-1FC2-4C3E-A9D6-D77B215A289A}"/>
              </a:ext>
            </a:extLst>
          </p:cNvPr>
          <p:cNvSpPr txBox="1"/>
          <p:nvPr/>
        </p:nvSpPr>
        <p:spPr>
          <a:xfrm flipH="1">
            <a:off x="471621" y="1332454"/>
            <a:ext cx="1088718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ayPal Sans Big Light"/>
                <a:ea typeface="+mn-ea"/>
                <a:cs typeface="+mn-cs"/>
              </a:rPr>
              <a:t>Any Normal distribution can be converted into Standard normal distributio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E92DC4-2128-455D-A195-DAD32AFD1CF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5059" y="1717685"/>
            <a:ext cx="6657256" cy="449817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030F871-EB91-45CD-B357-C485C5F54DD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35842" y="3533653"/>
            <a:ext cx="552449" cy="48101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15A2D5-DD0F-4E9C-921E-1185A5549D3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60307" y="1717686"/>
            <a:ext cx="4988767" cy="43029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828672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B6CD79A-0AFC-41BB-B5C4-B6FD7F399F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6035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B6CD79A-0AFC-41BB-B5C4-B6FD7F399F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>
            <a:extLst>
              <a:ext uri="{FF2B5EF4-FFF2-40B4-BE49-F238E27FC236}">
                <a16:creationId xmlns:a16="http://schemas.microsoft.com/office/drawing/2014/main" id="{64918153-A00C-4D88-BBA4-88ED53A234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443" y="333158"/>
            <a:ext cx="11187113" cy="311150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Practice Questions - 1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825120B-9ED3-446B-821C-D11EDB3180C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9213" y="748619"/>
            <a:ext cx="10390415" cy="5195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73786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4D4F72-5C85-4ACA-B525-4B8E47646C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58157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E4D4F72-5C85-4ACA-B525-4B8E47646C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2FBEA0B-AFC9-4E9F-B596-EF6F6E94CC4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688BC3-F6E4-4886-95E7-D676BAA638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325" y="241301"/>
            <a:ext cx="11601450" cy="596900"/>
          </a:xfrm>
        </p:spPr>
        <p:txBody>
          <a:bodyPr>
            <a:normAutofit fontScale="90000"/>
          </a:bodyPr>
          <a:lstStyle/>
          <a:p>
            <a:r>
              <a:rPr lang="en-US" sz="4400" b="0" i="0" u="none" strike="noStrike" dirty="0">
                <a:solidFill>
                  <a:schemeClr val="accent1"/>
                </a:solidFill>
                <a:effectLst/>
                <a:latin typeface="Arial" panose="020B0604020202020204" pitchFamily="34" charset="0"/>
              </a:rPr>
              <a:t>Sampling and Population </a:t>
            </a:r>
            <a:r>
              <a:rPr lang="en-US" sz="4400" b="0" i="0" u="none" strike="noStrike" dirty="0" err="1">
                <a:solidFill>
                  <a:schemeClr val="accent1"/>
                </a:solidFill>
                <a:effectLst/>
                <a:latin typeface="Arial" panose="020B0604020202020204" pitchFamily="34" charset="0"/>
              </a:rPr>
              <a:t>Contd</a:t>
            </a:r>
            <a:r>
              <a:rPr lang="en-US" sz="4400" b="0" i="0" u="none" strike="noStrike" dirty="0">
                <a:solidFill>
                  <a:schemeClr val="accent1"/>
                </a:solidFill>
                <a:effectLst/>
                <a:latin typeface="Arial" panose="020B0604020202020204" pitchFamily="34" charset="0"/>
              </a:rPr>
              <a:t>…</a:t>
            </a:r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ACC410E5-66E4-4852-9011-364211860C8A}"/>
              </a:ext>
            </a:extLst>
          </p:cNvPr>
          <p:cNvSpPr txBox="1">
            <a:spLocks/>
          </p:cNvSpPr>
          <p:nvPr/>
        </p:nvSpPr>
        <p:spPr>
          <a:xfrm>
            <a:off x="1" y="1490631"/>
            <a:ext cx="6534150" cy="9572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</a:pPr>
            <a:endParaRPr lang="en-US" sz="1800" dirty="0">
              <a:solidFill>
                <a:srgbClr val="595959"/>
              </a:solidFill>
              <a:latin typeface="Arial" panose="020B0604020202020204" pitchFamily="34" charset="0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4944ABAC-DABC-4491-B44C-975ADD7C5F84}"/>
              </a:ext>
            </a:extLst>
          </p:cNvPr>
          <p:cNvSpPr txBox="1">
            <a:spLocks/>
          </p:cNvSpPr>
          <p:nvPr/>
        </p:nvSpPr>
        <p:spPr>
          <a:xfrm>
            <a:off x="114300" y="3599794"/>
            <a:ext cx="11801475" cy="6873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</a:pPr>
            <a:endParaRPr lang="en-US" sz="1800" dirty="0">
              <a:solidFill>
                <a:srgbClr val="595959"/>
              </a:solidFill>
              <a:latin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7C96B01-14CB-480C-9D27-34781D90A126}"/>
              </a:ext>
            </a:extLst>
          </p:cNvPr>
          <p:cNvSpPr txBox="1"/>
          <p:nvPr/>
        </p:nvSpPr>
        <p:spPr>
          <a:xfrm>
            <a:off x="211732" y="1043493"/>
            <a:ext cx="1198026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595959"/>
                </a:solidFill>
                <a:latin typeface="Arial" panose="020B0604020202020204" pitchFamily="34" charset="0"/>
              </a:rPr>
              <a:t>Types of Sampling -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B4600A3-E783-4228-B9DB-28C3AD0A25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62289" y="1536818"/>
            <a:ext cx="2486025" cy="1814250"/>
          </a:xfrm>
          <a:prstGeom prst="rect">
            <a:avLst/>
          </a:prstGeom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30530E1-F535-42E0-ABAB-075F5D29EBF9}"/>
              </a:ext>
            </a:extLst>
          </p:cNvPr>
          <p:cNvSpPr/>
          <p:nvPr/>
        </p:nvSpPr>
        <p:spPr>
          <a:xfrm>
            <a:off x="71239" y="1536818"/>
            <a:ext cx="6119812" cy="172138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</a:pPr>
            <a:r>
              <a:rPr lang="en-US" sz="1800" b="1" dirty="0">
                <a:solidFill>
                  <a:schemeClr val="bg1"/>
                </a:solidFill>
                <a:latin typeface="Arial" panose="020B0604020202020204" pitchFamily="34" charset="0"/>
              </a:rPr>
              <a:t>Simple Random Sampling</a:t>
            </a:r>
            <a:r>
              <a:rPr lang="en-US" sz="1800" b="1" dirty="0">
                <a:solidFill>
                  <a:schemeClr val="tx1"/>
                </a:solidFill>
                <a:latin typeface="Arial" panose="020B0604020202020204" pitchFamily="34" charset="0"/>
              </a:rPr>
              <a:t> </a:t>
            </a:r>
            <a:r>
              <a:rPr lang="en-US" sz="1800" b="1" dirty="0">
                <a:solidFill>
                  <a:schemeClr val="bg1"/>
                </a:solidFill>
                <a:latin typeface="Arial" panose="020B0604020202020204" pitchFamily="34" charset="0"/>
              </a:rPr>
              <a:t>-</a:t>
            </a:r>
            <a:r>
              <a:rPr lang="en-US" sz="18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</a:rPr>
              <a:t>Simple random sampling is the simplest form of sampling. Each member of the population has an equal and known chance of being selected</a:t>
            </a:r>
            <a:endParaRPr lang="en-US" sz="18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F7D1547F-05F0-437A-B1E4-5BAD85D37374}"/>
              </a:ext>
            </a:extLst>
          </p:cNvPr>
          <p:cNvSpPr/>
          <p:nvPr/>
        </p:nvSpPr>
        <p:spPr>
          <a:xfrm>
            <a:off x="71239" y="3717664"/>
            <a:ext cx="6119812" cy="172138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>
              <a:spcBef>
                <a:spcPts val="0"/>
              </a:spcBef>
              <a:spcAft>
                <a:spcPts val="1600"/>
              </a:spcAft>
              <a:buNone/>
            </a:pP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</a:rPr>
              <a:t>Stratified Random Sampling - </a:t>
            </a: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</a:rPr>
              <a:t>Simple random sampling is the simplest form of sampling. Each member of the population has an equal and known chance of being selected</a:t>
            </a:r>
            <a:endParaRPr lang="en-US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E9689CE-DE71-4632-8EC1-A4C07BBDA1C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34112" y="3756156"/>
            <a:ext cx="2398106" cy="1644416"/>
          </a:xfrm>
          <a:prstGeom prst="rect">
            <a:avLst/>
          </a:prstGeom>
        </p:spPr>
      </p:pic>
      <p:sp>
        <p:nvSpPr>
          <p:cNvPr id="17" name="Arrow: Right 16">
            <a:extLst>
              <a:ext uri="{FF2B5EF4-FFF2-40B4-BE49-F238E27FC236}">
                <a16:creationId xmlns:a16="http://schemas.microsoft.com/office/drawing/2014/main" id="{2C8D4592-9E10-4975-A4F4-4FF2873791C2}"/>
              </a:ext>
            </a:extLst>
          </p:cNvPr>
          <p:cNvSpPr/>
          <p:nvPr/>
        </p:nvSpPr>
        <p:spPr>
          <a:xfrm>
            <a:off x="8705850" y="4194222"/>
            <a:ext cx="504824" cy="532795"/>
          </a:xfrm>
          <a:prstGeom prst="rightArrow">
            <a:avLst>
              <a:gd name="adj1" fmla="val 50000"/>
              <a:gd name="adj2" fmla="val 51622"/>
            </a:avLst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0" dirty="0">
                <a:effectLst/>
              </a:rPr>
              <a:t> </a:t>
            </a:r>
            <a:endParaRPr lang="en-US" dirty="0"/>
          </a:p>
        </p:txBody>
      </p:sp>
      <p:sp>
        <p:nvSpPr>
          <p:cNvPr id="18" name="Arrow: Right 17">
            <a:extLst>
              <a:ext uri="{FF2B5EF4-FFF2-40B4-BE49-F238E27FC236}">
                <a16:creationId xmlns:a16="http://schemas.microsoft.com/office/drawing/2014/main" id="{83913A01-5C70-43EB-8543-46A19B5BD4B5}"/>
              </a:ext>
            </a:extLst>
          </p:cNvPr>
          <p:cNvSpPr/>
          <p:nvPr/>
        </p:nvSpPr>
        <p:spPr>
          <a:xfrm rot="5400000">
            <a:off x="10475117" y="5012038"/>
            <a:ext cx="504824" cy="532795"/>
          </a:xfrm>
          <a:prstGeom prst="rightArrow">
            <a:avLst>
              <a:gd name="adj1" fmla="val 50000"/>
              <a:gd name="adj2" fmla="val 51622"/>
            </a:avLst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0" dirty="0">
                <a:effectLst/>
              </a:rPr>
              <a:t> </a:t>
            </a:r>
            <a:endParaRPr lang="en-US" dirty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EFC150FC-A4DC-408D-9485-13A1FE5D373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272588" y="3696899"/>
            <a:ext cx="2833688" cy="1256766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0BB3082A-B353-4A6B-B90C-8B3FFCF10B0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310684" y="5593681"/>
            <a:ext cx="2833689" cy="1188733"/>
          </a:xfrm>
          <a:prstGeom prst="rect">
            <a:avLst/>
          </a:prstGeom>
        </p:spPr>
      </p:pic>
      <p:sp>
        <p:nvSpPr>
          <p:cNvPr id="22" name="Arrow: Right 21">
            <a:extLst>
              <a:ext uri="{FF2B5EF4-FFF2-40B4-BE49-F238E27FC236}">
                <a16:creationId xmlns:a16="http://schemas.microsoft.com/office/drawing/2014/main" id="{DC425AC9-7038-4873-A4E8-B5D7F2F60EE2}"/>
              </a:ext>
            </a:extLst>
          </p:cNvPr>
          <p:cNvSpPr/>
          <p:nvPr/>
        </p:nvSpPr>
        <p:spPr>
          <a:xfrm rot="10800000">
            <a:off x="8705850" y="6083904"/>
            <a:ext cx="504824" cy="532795"/>
          </a:xfrm>
          <a:prstGeom prst="rightArrow">
            <a:avLst>
              <a:gd name="adj1" fmla="val 50000"/>
              <a:gd name="adj2" fmla="val 51622"/>
            </a:avLst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0" dirty="0">
                <a:effectLst/>
              </a:rPr>
              <a:t> </a:t>
            </a:r>
            <a:endParaRPr lang="en-US" dirty="0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919F4694-2323-4A71-84E2-AE7BC815E41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255670" y="5706089"/>
            <a:ext cx="1400175" cy="1076325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011CBA03-779F-43F9-9FAB-8EA6E7344078}"/>
              </a:ext>
            </a:extLst>
          </p:cNvPr>
          <p:cNvSpPr txBox="1"/>
          <p:nvPr/>
        </p:nvSpPr>
        <p:spPr>
          <a:xfrm>
            <a:off x="278611" y="5824032"/>
            <a:ext cx="61198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ther types of sampling – Biased Sampling, Systematic Sampling, multistage sampling </a:t>
            </a:r>
            <a:r>
              <a:rPr lang="en-US" dirty="0" err="1"/>
              <a:t>et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903502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B242349-B5D8-4241-AA81-DC2D7885B6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83136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B242349-B5D8-4241-AA81-DC2D7885B6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>
            <a:extLst>
              <a:ext uri="{FF2B5EF4-FFF2-40B4-BE49-F238E27FC236}">
                <a16:creationId xmlns:a16="http://schemas.microsoft.com/office/drawing/2014/main" id="{146DCA23-1C95-468E-946E-809B5C051D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443" y="235186"/>
            <a:ext cx="11187113" cy="311150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Parameter v/s Statistics – Revisit.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6594830-2519-4313-B3DB-3DA2EADA6A4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7711" y="1197429"/>
            <a:ext cx="6999517" cy="37338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66DB2D0-37EF-42AC-B9DC-820F1B91929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94171" y="1612129"/>
            <a:ext cx="4178937" cy="29170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717770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F8231D47-8224-429D-B81D-9098BAA6C1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7235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F8231D47-8224-429D-B81D-9098BAA6C1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B3A86C61-1624-4C54-BB43-FAD8B98D6AC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57947" y="3677794"/>
            <a:ext cx="3940629" cy="2635238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BC146F78-5473-4FF2-84C8-5499376D31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443" y="235186"/>
            <a:ext cx="11187113" cy="311150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Central Limit Theorem – Where it is applicable?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96189F4-3F8D-4647-856C-8F8960B2D75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0129" y="859969"/>
            <a:ext cx="3752013" cy="267685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7A4BFF3-9901-427C-97A7-1E681069A74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19796" y="901584"/>
            <a:ext cx="3940629" cy="263523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D0AF9DA-3CF8-4A03-9B97-036B69AF6FB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447314" y="901584"/>
            <a:ext cx="3635827" cy="263523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3276125-8B2C-42C9-BD25-F331531D472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783875" y="194191"/>
            <a:ext cx="2330223" cy="66577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C51B9A1-D065-47BA-BA44-079E4A520C7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22905" y="3669678"/>
            <a:ext cx="3752013" cy="263523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3FB4E7C-F457-40AE-8B3D-4B2CECA1A63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499755" y="3676102"/>
            <a:ext cx="1382487" cy="45377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8561883-BCA5-4446-9015-CE27F345313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447311" y="3677793"/>
            <a:ext cx="3635829" cy="2627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285060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41F7EDB7-9E95-4FA8-A261-85E6D04345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2780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41F7EDB7-9E95-4FA8-A261-85E6D04345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Picture 27">
            <a:extLst>
              <a:ext uri="{FF2B5EF4-FFF2-40B4-BE49-F238E27FC236}">
                <a16:creationId xmlns:a16="http://schemas.microsoft.com/office/drawing/2014/main" id="{A92A2BB0-C877-42D0-8ADA-C25EE2E02B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5402" y="831082"/>
            <a:ext cx="3103516" cy="2077732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0FEB9010-5EC6-465A-AD08-2B411B2F540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69531" y="831081"/>
            <a:ext cx="3403596" cy="2077731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89073651-76FE-4C95-9786-12996B4D3C3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52208" y="831080"/>
            <a:ext cx="2994525" cy="781013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78ACB90A-A6D6-45FD-80D8-27FBCBFFEF1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352208" y="1881851"/>
            <a:ext cx="2994523" cy="752491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FED68AB3-30C7-4890-B81B-59E85201919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45402" y="3084703"/>
            <a:ext cx="2555246" cy="1606929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789DCC4F-372D-448F-A957-F2050463E51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090560" y="3084700"/>
            <a:ext cx="2555246" cy="1606932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D7343164-8836-4D14-A4C9-B94B4F88014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880886" y="3084700"/>
            <a:ext cx="2555246" cy="1606932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07017679-97EE-43FB-B154-6570080A80D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556170" y="3084701"/>
            <a:ext cx="3505201" cy="1606930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98F67DDD-5A84-49B5-BE5F-59724A064BF8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45401" y="4829994"/>
            <a:ext cx="2555247" cy="1441740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091BC4B2-488F-4419-9F6D-29B425D21FD6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090559" y="4829994"/>
            <a:ext cx="2555247" cy="1441741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B0E75062-AE5C-4DD3-B4ED-AF18934ACD01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797186" y="4818347"/>
            <a:ext cx="2638946" cy="1453387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07D27843-20B3-475F-9DF4-6BD8BE42FB13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642344" y="4880426"/>
            <a:ext cx="1802267" cy="651101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F55A005C-CE1C-423C-9088-00735C8BF859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0536051" y="4880426"/>
            <a:ext cx="1410548" cy="613195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9CE13EBF-63D4-4B0A-A9DE-425D4030227F}"/>
              </a:ext>
            </a:extLst>
          </p:cNvPr>
          <p:cNvSpPr txBox="1"/>
          <p:nvPr/>
        </p:nvSpPr>
        <p:spPr>
          <a:xfrm>
            <a:off x="141593" y="-6439"/>
            <a:ext cx="11406559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Central Limit Theorem – Where it is applicable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193368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4244B5D-F4CA-4641-B528-296316F346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4273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4244B5D-F4CA-4641-B528-296316F346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E653ED2-35B1-4BF3-B6BA-A4308DF44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0515600" cy="852755"/>
          </a:xfrm>
        </p:spPr>
        <p:txBody>
          <a:bodyPr vert="horz"/>
          <a:lstStyle/>
          <a:p>
            <a:r>
              <a:rPr lang="en-US" dirty="0"/>
              <a:t>Degrees of Freedo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37DAD1-FC10-4CCB-A66F-837CA994DE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9557" y="852755"/>
            <a:ext cx="10515600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1" dirty="0"/>
              <a:t>Definition -</a:t>
            </a:r>
          </a:p>
          <a:p>
            <a:pPr>
              <a:spcBef>
                <a:spcPts val="0"/>
              </a:spcBef>
            </a:pPr>
            <a:r>
              <a:rPr lang="en-US" sz="2000" dirty="0"/>
              <a:t>Degrees of freedom are the number of independent values that a statistical analysis can estimate. </a:t>
            </a:r>
          </a:p>
          <a:p>
            <a:pPr>
              <a:spcBef>
                <a:spcPts val="0"/>
              </a:spcBef>
            </a:pPr>
            <a:r>
              <a:rPr lang="en-US" sz="2000" dirty="0"/>
              <a:t>The number of values that are free to vary as you estimate parameters. </a:t>
            </a:r>
          </a:p>
          <a:p>
            <a:pPr>
              <a:spcBef>
                <a:spcPts val="0"/>
              </a:spcBef>
            </a:pPr>
            <a:r>
              <a:rPr lang="en-US" sz="2000" dirty="0"/>
              <a:t>Typically, the degrees of freedom equal your sample size minus the number of parameters you need to calculate during an analysis. It is usually a positive whole number.</a:t>
            </a:r>
          </a:p>
          <a:p>
            <a:pPr>
              <a:spcBef>
                <a:spcPts val="0"/>
              </a:spcBef>
            </a:pPr>
            <a:endParaRPr lang="en-US" sz="20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7435386-0CFA-4D29-9160-FD560541F20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354" y="3215810"/>
            <a:ext cx="1669856" cy="307304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D97A616-9D6B-48AF-B06D-BC7A4953DFF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354" y="6416422"/>
            <a:ext cx="5211352" cy="34936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E8D9502-80B4-4259-B27E-0C959BDE6D4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096000" y="3377788"/>
            <a:ext cx="5413226" cy="2853742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760C9515-0DF6-4576-BB91-751AB58EAFAB}"/>
              </a:ext>
            </a:extLst>
          </p:cNvPr>
          <p:cNvSpPr txBox="1"/>
          <p:nvPr/>
        </p:nvSpPr>
        <p:spPr>
          <a:xfrm>
            <a:off x="308225" y="2815119"/>
            <a:ext cx="26507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T-Test:-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56DF862-8371-4C1B-8E1C-CFE45C4D78A2}"/>
              </a:ext>
            </a:extLst>
          </p:cNvPr>
          <p:cNvSpPr txBox="1"/>
          <p:nvPr/>
        </p:nvSpPr>
        <p:spPr>
          <a:xfrm>
            <a:off x="6008670" y="2815119"/>
            <a:ext cx="26507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Chi-square Test:-</a:t>
            </a:r>
          </a:p>
        </p:txBody>
      </p:sp>
    </p:spTree>
    <p:extLst>
      <p:ext uri="{BB962C8B-B14F-4D97-AF65-F5344CB8AC3E}">
        <p14:creationId xmlns:p14="http://schemas.microsoft.com/office/powerpoint/2010/main" val="49859918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F6C052-B03A-4414-A51E-A873066F76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5881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1F6C052-B03A-4414-A51E-A873066F76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5DCDF02-03DA-4006-9CEE-4CDEA73A36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928" y="61644"/>
            <a:ext cx="10515600" cy="693113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Chi-Square Tes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6C1879-9C15-4C09-B0B2-E6D4B61CF5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3670" y="839306"/>
            <a:ext cx="11583256" cy="4351338"/>
          </a:xfrm>
        </p:spPr>
        <p:txBody>
          <a:bodyPr/>
          <a:lstStyle/>
          <a:p>
            <a:pPr marL="0" indent="0">
              <a:buNone/>
            </a:pPr>
            <a:r>
              <a:rPr lang="en-US" sz="2000" dirty="0"/>
              <a:t>The Chi-square test of independence determines whether there is a statistically significant relationship between </a:t>
            </a:r>
            <a:r>
              <a:rPr lang="en-US" sz="2000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tegorical variables</a:t>
            </a:r>
            <a:r>
              <a:rPr lang="en-US" sz="2000" dirty="0"/>
              <a:t>. It is a </a:t>
            </a:r>
            <a:r>
              <a:rPr lang="en-US" sz="2000" dirty="0"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ypothesis test</a:t>
            </a:r>
            <a:r>
              <a:rPr lang="en-US" sz="2000" dirty="0"/>
              <a:t> that answers the question—do the values of one </a:t>
            </a:r>
            <a:r>
              <a:rPr lang="en-US" sz="2000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tegorical variable</a:t>
            </a:r>
            <a:r>
              <a:rPr lang="en-US" sz="2000" dirty="0"/>
              <a:t> depend on the value of other categorical variables? This test is also known as the chi-square test of association. </a:t>
            </a:r>
            <a:r>
              <a:rPr lang="en-US" sz="2000" b="1" dirty="0"/>
              <a:t>DF – (r-1)*(c-1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B2BB115-69AF-43B3-A858-E6D9473ED964}"/>
              </a:ext>
            </a:extLst>
          </p:cNvPr>
          <p:cNvSpPr txBox="1"/>
          <p:nvPr/>
        </p:nvSpPr>
        <p:spPr>
          <a:xfrm>
            <a:off x="293670" y="2228671"/>
            <a:ext cx="11311847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Null hypothesis: </a:t>
            </a:r>
            <a:r>
              <a:rPr lang="en-US" dirty="0"/>
              <a:t>There are no relationships between the categorical variables. If you know the value of one variable, it does not help you predict the value of another variable.</a:t>
            </a:r>
          </a:p>
          <a:p>
            <a:r>
              <a:rPr lang="en-US" b="1" dirty="0"/>
              <a:t>Alternative hypothesis:</a:t>
            </a:r>
            <a:r>
              <a:rPr lang="en-US" dirty="0"/>
              <a:t> There are relationships between the categorical variables. Knowing the value of one variable does help you predict the value of another variable.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105861A-E4DA-496A-906D-DDED963787D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82938" y="3429000"/>
            <a:ext cx="4931597" cy="3182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470815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49AC772-B657-461B-A77C-824F3CD640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83348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49AC772-B657-461B-A77C-824F3CD640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46CB7C6-DC9D-4ED9-B7EF-DD6A0CBB65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912" y="0"/>
            <a:ext cx="10515600" cy="836951"/>
          </a:xfrm>
        </p:spPr>
        <p:txBody>
          <a:bodyPr vert="horz"/>
          <a:lstStyle/>
          <a:p>
            <a:r>
              <a:rPr lang="en-US" dirty="0"/>
              <a:t>Chi-Square Test Contd…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8463F1F-CB4E-422B-AA54-226928DFA33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4387" y="1039526"/>
            <a:ext cx="6597666" cy="348110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7AC6F33-8BA1-4B12-8AB0-44F03C4B3B7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58238" y="4723204"/>
            <a:ext cx="4467760" cy="1799273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6816DB2-0CD4-439D-8186-C359906BB257}"/>
              </a:ext>
            </a:extLst>
          </p:cNvPr>
          <p:cNvSpPr txBox="1"/>
          <p:nvPr/>
        </p:nvSpPr>
        <p:spPr>
          <a:xfrm>
            <a:off x="6096000" y="3770226"/>
            <a:ext cx="5931613" cy="3139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Chi square distribution table with 1 degree of freedom and reading along the row we find our value of x²(3.418) lies between 2.706 and 3.841. The corresponding probability is between the 0.10 and 0.05 probability levels. That means that the p-value is above 0.05 (it is 0.065).</a:t>
            </a:r>
          </a:p>
          <a:p>
            <a:endParaRPr lang="en-US" dirty="0"/>
          </a:p>
          <a:p>
            <a:r>
              <a:rPr lang="en-US" dirty="0"/>
              <a:t>Since a p-value of 0.065 is greater than the conventionally accepted significance level of 0.05 (i.e. p &gt; 0.05) we fail to reject the null hypothesis. In other words, there is no statistically significant difference in the proportion of animals whose heart rate increased.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A6CA27F-203F-437F-BFD5-79197783E84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62053" y="1456275"/>
            <a:ext cx="5031945" cy="2212664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8">
            <p14:nvContentPartPr>
              <p14:cNvPr id="21" name="Ink 20">
                <a:extLst>
                  <a:ext uri="{FF2B5EF4-FFF2-40B4-BE49-F238E27FC236}">
                    <a16:creationId xmlns:a16="http://schemas.microsoft.com/office/drawing/2014/main" id="{94A659AC-B768-4FCB-857E-CB50F0B82770}"/>
                  </a:ext>
                </a:extLst>
              </p14:cNvPr>
              <p14:cNvContentPartPr/>
              <p14:nvPr/>
            </p14:nvContentPartPr>
            <p14:xfrm>
              <a:off x="9625809" y="1969831"/>
              <a:ext cx="819360" cy="147600"/>
            </p14:xfrm>
          </p:contentPart>
        </mc:Choice>
        <mc:Fallback xmlns="">
          <p:pic>
            <p:nvPicPr>
              <p:cNvPr id="21" name="Ink 20">
                <a:extLst>
                  <a:ext uri="{FF2B5EF4-FFF2-40B4-BE49-F238E27FC236}">
                    <a16:creationId xmlns:a16="http://schemas.microsoft.com/office/drawing/2014/main" id="{94A659AC-B768-4FCB-857E-CB50F0B82770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9608169" y="1952191"/>
                <a:ext cx="855000" cy="1832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0">
            <p14:nvContentPartPr>
              <p14:cNvPr id="23" name="Ink 22">
                <a:extLst>
                  <a:ext uri="{FF2B5EF4-FFF2-40B4-BE49-F238E27FC236}">
                    <a16:creationId xmlns:a16="http://schemas.microsoft.com/office/drawing/2014/main" id="{2CC15204-94C6-4D23-ACA2-8AE1C472DFF1}"/>
                  </a:ext>
                </a:extLst>
              </p14:cNvPr>
              <p14:cNvContentPartPr/>
              <p14:nvPr/>
            </p14:nvContentPartPr>
            <p14:xfrm>
              <a:off x="9627609" y="1966951"/>
              <a:ext cx="827280" cy="224280"/>
            </p14:xfrm>
          </p:contentPart>
        </mc:Choice>
        <mc:Fallback xmlns="">
          <p:pic>
            <p:nvPicPr>
              <p:cNvPr id="23" name="Ink 22">
                <a:extLst>
                  <a:ext uri="{FF2B5EF4-FFF2-40B4-BE49-F238E27FC236}">
                    <a16:creationId xmlns:a16="http://schemas.microsoft.com/office/drawing/2014/main" id="{2CC15204-94C6-4D23-ACA2-8AE1C472DFF1}"/>
                  </a:ext>
                </a:extLst>
              </p:cNvPr>
              <p:cNvPicPr/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9609609" y="1949311"/>
                <a:ext cx="862920" cy="259920"/>
              </a:xfrm>
              <a:prstGeom prst="rect">
                <a:avLst/>
              </a:prstGeom>
            </p:spPr>
          </p:pic>
        </mc:Fallback>
      </mc:AlternateContent>
      <p:grpSp>
        <p:nvGrpSpPr>
          <p:cNvPr id="56" name="Group 55">
            <a:extLst>
              <a:ext uri="{FF2B5EF4-FFF2-40B4-BE49-F238E27FC236}">
                <a16:creationId xmlns:a16="http://schemas.microsoft.com/office/drawing/2014/main" id="{EF4D4830-405A-45A1-835D-11DE943E1813}"/>
              </a:ext>
            </a:extLst>
          </p:cNvPr>
          <p:cNvGrpSpPr/>
          <p:nvPr/>
        </p:nvGrpSpPr>
        <p:grpSpPr>
          <a:xfrm>
            <a:off x="8727249" y="950671"/>
            <a:ext cx="3096000" cy="357840"/>
            <a:chOff x="8727249" y="950671"/>
            <a:chExt cx="3096000" cy="3578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2">
              <p14:nvContentPartPr>
                <p14:cNvPr id="24" name="Ink 23">
                  <a:extLst>
                    <a:ext uri="{FF2B5EF4-FFF2-40B4-BE49-F238E27FC236}">
                      <a16:creationId xmlns:a16="http://schemas.microsoft.com/office/drawing/2014/main" id="{A074B49C-9D02-477A-970A-767104B8259C}"/>
                    </a:ext>
                  </a:extLst>
                </p14:cNvPr>
                <p14:cNvContentPartPr/>
                <p14:nvPr/>
              </p14:nvContentPartPr>
              <p14:xfrm>
                <a:off x="8727249" y="1000711"/>
                <a:ext cx="170640" cy="170640"/>
              </p14:xfrm>
            </p:contentPart>
          </mc:Choice>
          <mc:Fallback xmlns="">
            <p:pic>
              <p:nvPicPr>
                <p:cNvPr id="24" name="Ink 23">
                  <a:extLst>
                    <a:ext uri="{FF2B5EF4-FFF2-40B4-BE49-F238E27FC236}">
                      <a16:creationId xmlns:a16="http://schemas.microsoft.com/office/drawing/2014/main" id="{A074B49C-9D02-477A-970A-767104B8259C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8709609" y="982711"/>
                  <a:ext cx="206280" cy="206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">
              <p14:nvContentPartPr>
                <p14:cNvPr id="25" name="Ink 24">
                  <a:extLst>
                    <a:ext uri="{FF2B5EF4-FFF2-40B4-BE49-F238E27FC236}">
                      <a16:creationId xmlns:a16="http://schemas.microsoft.com/office/drawing/2014/main" id="{0170F980-E305-4B63-944F-97D8D5D8936A}"/>
                    </a:ext>
                  </a:extLst>
                </p14:cNvPr>
                <p14:cNvContentPartPr/>
                <p14:nvPr/>
              </p14:nvContentPartPr>
              <p14:xfrm>
                <a:off x="9029289" y="1057231"/>
                <a:ext cx="2160" cy="4320"/>
              </p14:xfrm>
            </p:contentPart>
          </mc:Choice>
          <mc:Fallback xmlns="">
            <p:pic>
              <p:nvPicPr>
                <p:cNvPr id="25" name="Ink 24">
                  <a:extLst>
                    <a:ext uri="{FF2B5EF4-FFF2-40B4-BE49-F238E27FC236}">
                      <a16:creationId xmlns:a16="http://schemas.microsoft.com/office/drawing/2014/main" id="{0170F980-E305-4B63-944F-97D8D5D8936A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9011649" y="1039231"/>
                  <a:ext cx="37800" cy="39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">
              <p14:nvContentPartPr>
                <p14:cNvPr id="26" name="Ink 25">
                  <a:extLst>
                    <a:ext uri="{FF2B5EF4-FFF2-40B4-BE49-F238E27FC236}">
                      <a16:creationId xmlns:a16="http://schemas.microsoft.com/office/drawing/2014/main" id="{A68FBBE2-617F-4CC7-8BE4-00B4480853FF}"/>
                    </a:ext>
                  </a:extLst>
                </p14:cNvPr>
                <p14:cNvContentPartPr/>
                <p14:nvPr/>
              </p14:nvContentPartPr>
              <p14:xfrm>
                <a:off x="9057369" y="950671"/>
                <a:ext cx="198000" cy="234000"/>
              </p14:xfrm>
            </p:contentPart>
          </mc:Choice>
          <mc:Fallback xmlns="">
            <p:pic>
              <p:nvPicPr>
                <p:cNvPr id="26" name="Ink 25">
                  <a:extLst>
                    <a:ext uri="{FF2B5EF4-FFF2-40B4-BE49-F238E27FC236}">
                      <a16:creationId xmlns:a16="http://schemas.microsoft.com/office/drawing/2014/main" id="{A68FBBE2-617F-4CC7-8BE4-00B4480853FF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9039729" y="932671"/>
                  <a:ext cx="233640" cy="269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">
              <p14:nvContentPartPr>
                <p14:cNvPr id="27" name="Ink 26">
                  <a:extLst>
                    <a:ext uri="{FF2B5EF4-FFF2-40B4-BE49-F238E27FC236}">
                      <a16:creationId xmlns:a16="http://schemas.microsoft.com/office/drawing/2014/main" id="{38F150B2-F627-4730-8516-D7054D4FCE3C}"/>
                    </a:ext>
                  </a:extLst>
                </p14:cNvPr>
                <p14:cNvContentPartPr/>
                <p14:nvPr/>
              </p14:nvContentPartPr>
              <p14:xfrm>
                <a:off x="9178689" y="1102591"/>
                <a:ext cx="104040" cy="34560"/>
              </p14:xfrm>
            </p:contentPart>
          </mc:Choice>
          <mc:Fallback xmlns="">
            <p:pic>
              <p:nvPicPr>
                <p:cNvPr id="27" name="Ink 26">
                  <a:extLst>
                    <a:ext uri="{FF2B5EF4-FFF2-40B4-BE49-F238E27FC236}">
                      <a16:creationId xmlns:a16="http://schemas.microsoft.com/office/drawing/2014/main" id="{38F150B2-F627-4730-8516-D7054D4FCE3C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9160689" y="1084591"/>
                  <a:ext cx="139680" cy="70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0">
              <p14:nvContentPartPr>
                <p14:cNvPr id="28" name="Ink 27">
                  <a:extLst>
                    <a:ext uri="{FF2B5EF4-FFF2-40B4-BE49-F238E27FC236}">
                      <a16:creationId xmlns:a16="http://schemas.microsoft.com/office/drawing/2014/main" id="{ECEFE3D5-5785-4861-BF8B-993A1316BFB0}"/>
                    </a:ext>
                  </a:extLst>
                </p14:cNvPr>
                <p14:cNvContentPartPr/>
                <p14:nvPr/>
              </p14:nvContentPartPr>
              <p14:xfrm>
                <a:off x="9382089" y="1017991"/>
                <a:ext cx="77760" cy="123480"/>
              </p14:xfrm>
            </p:contentPart>
          </mc:Choice>
          <mc:Fallback xmlns="">
            <p:pic>
              <p:nvPicPr>
                <p:cNvPr id="28" name="Ink 27">
                  <a:extLst>
                    <a:ext uri="{FF2B5EF4-FFF2-40B4-BE49-F238E27FC236}">
                      <a16:creationId xmlns:a16="http://schemas.microsoft.com/office/drawing/2014/main" id="{ECEFE3D5-5785-4861-BF8B-993A1316BFB0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9364089" y="999991"/>
                  <a:ext cx="113400" cy="159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2">
              <p14:nvContentPartPr>
                <p14:cNvPr id="29" name="Ink 28">
                  <a:extLst>
                    <a:ext uri="{FF2B5EF4-FFF2-40B4-BE49-F238E27FC236}">
                      <a16:creationId xmlns:a16="http://schemas.microsoft.com/office/drawing/2014/main" id="{6F441761-4CBB-4C5E-83F5-03C3CE26A1B4}"/>
                    </a:ext>
                  </a:extLst>
                </p14:cNvPr>
                <p14:cNvContentPartPr/>
                <p14:nvPr/>
              </p14:nvContentPartPr>
              <p14:xfrm>
                <a:off x="9575409" y="963271"/>
                <a:ext cx="73800" cy="234720"/>
              </p14:xfrm>
            </p:contentPart>
          </mc:Choice>
          <mc:Fallback xmlns="">
            <p:pic>
              <p:nvPicPr>
                <p:cNvPr id="29" name="Ink 28">
                  <a:extLst>
                    <a:ext uri="{FF2B5EF4-FFF2-40B4-BE49-F238E27FC236}">
                      <a16:creationId xmlns:a16="http://schemas.microsoft.com/office/drawing/2014/main" id="{6F441761-4CBB-4C5E-83F5-03C3CE26A1B4}"/>
                    </a:ext>
                  </a:extLst>
                </p:cNvPr>
                <p:cNvPicPr/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9557409" y="945271"/>
                  <a:ext cx="109440" cy="270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4">
              <p14:nvContentPartPr>
                <p14:cNvPr id="30" name="Ink 29">
                  <a:extLst>
                    <a:ext uri="{FF2B5EF4-FFF2-40B4-BE49-F238E27FC236}">
                      <a16:creationId xmlns:a16="http://schemas.microsoft.com/office/drawing/2014/main" id="{126D51B7-15D4-40CD-82AA-FE97D7F496A2}"/>
                    </a:ext>
                  </a:extLst>
                </p14:cNvPr>
                <p14:cNvContentPartPr/>
                <p14:nvPr/>
              </p14:nvContentPartPr>
              <p14:xfrm>
                <a:off x="9788169" y="979471"/>
                <a:ext cx="105840" cy="237240"/>
              </p14:xfrm>
            </p:contentPart>
          </mc:Choice>
          <mc:Fallback xmlns="">
            <p:pic>
              <p:nvPicPr>
                <p:cNvPr id="30" name="Ink 29">
                  <a:extLst>
                    <a:ext uri="{FF2B5EF4-FFF2-40B4-BE49-F238E27FC236}">
                      <a16:creationId xmlns:a16="http://schemas.microsoft.com/office/drawing/2014/main" id="{126D51B7-15D4-40CD-82AA-FE97D7F496A2}"/>
                    </a:ext>
                  </a:extLst>
                </p:cNvPr>
                <p:cNvPicPr/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9770529" y="961831"/>
                  <a:ext cx="141480" cy="272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6">
              <p14:nvContentPartPr>
                <p14:cNvPr id="32" name="Ink 31">
                  <a:extLst>
                    <a:ext uri="{FF2B5EF4-FFF2-40B4-BE49-F238E27FC236}">
                      <a16:creationId xmlns:a16="http://schemas.microsoft.com/office/drawing/2014/main" id="{44312B52-8BED-4466-B601-9E4364E13726}"/>
                    </a:ext>
                  </a:extLst>
                </p14:cNvPr>
                <p14:cNvContentPartPr/>
                <p14:nvPr/>
              </p14:nvContentPartPr>
              <p14:xfrm>
                <a:off x="10076529" y="1014391"/>
                <a:ext cx="155160" cy="294120"/>
              </p14:xfrm>
            </p:contentPart>
          </mc:Choice>
          <mc:Fallback xmlns="">
            <p:pic>
              <p:nvPicPr>
                <p:cNvPr id="32" name="Ink 31">
                  <a:extLst>
                    <a:ext uri="{FF2B5EF4-FFF2-40B4-BE49-F238E27FC236}">
                      <a16:creationId xmlns:a16="http://schemas.microsoft.com/office/drawing/2014/main" id="{44312B52-8BED-4466-B601-9E4364E13726}"/>
                    </a:ext>
                  </a:extLst>
                </p:cNvPr>
                <p:cNvPicPr/>
                <p:nvPr/>
              </p:nvPicPr>
              <p:blipFill>
                <a:blip r:embed="rId27"/>
                <a:stretch>
                  <a:fillRect/>
                </a:stretch>
              </p:blipFill>
              <p:spPr>
                <a:xfrm>
                  <a:off x="10058889" y="996751"/>
                  <a:ext cx="190800" cy="329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8">
              <p14:nvContentPartPr>
                <p14:cNvPr id="33" name="Ink 32">
                  <a:extLst>
                    <a:ext uri="{FF2B5EF4-FFF2-40B4-BE49-F238E27FC236}">
                      <a16:creationId xmlns:a16="http://schemas.microsoft.com/office/drawing/2014/main" id="{110F5042-9D75-4979-A50E-9ED77AFD10DB}"/>
                    </a:ext>
                  </a:extLst>
                </p14:cNvPr>
                <p14:cNvContentPartPr/>
                <p14:nvPr/>
              </p14:nvContentPartPr>
              <p14:xfrm>
                <a:off x="10276689" y="1158391"/>
                <a:ext cx="41040" cy="13680"/>
              </p14:xfrm>
            </p:contentPart>
          </mc:Choice>
          <mc:Fallback xmlns="">
            <p:pic>
              <p:nvPicPr>
                <p:cNvPr id="33" name="Ink 32">
                  <a:extLst>
                    <a:ext uri="{FF2B5EF4-FFF2-40B4-BE49-F238E27FC236}">
                      <a16:creationId xmlns:a16="http://schemas.microsoft.com/office/drawing/2014/main" id="{110F5042-9D75-4979-A50E-9ED77AFD10DB}"/>
                    </a:ext>
                  </a:extLst>
                </p:cNvPr>
                <p:cNvPicPr/>
                <p:nvPr/>
              </p:nvPicPr>
              <p:blipFill>
                <a:blip r:embed="rId29"/>
                <a:stretch>
                  <a:fillRect/>
                </a:stretch>
              </p:blipFill>
              <p:spPr>
                <a:xfrm>
                  <a:off x="10258689" y="1140751"/>
                  <a:ext cx="76680" cy="49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0">
              <p14:nvContentPartPr>
                <p14:cNvPr id="37" name="Ink 36">
                  <a:extLst>
                    <a:ext uri="{FF2B5EF4-FFF2-40B4-BE49-F238E27FC236}">
                      <a16:creationId xmlns:a16="http://schemas.microsoft.com/office/drawing/2014/main" id="{538A67A8-2DF3-40F1-9179-0F93719BB4D9}"/>
                    </a:ext>
                  </a:extLst>
                </p14:cNvPr>
                <p14:cNvContentPartPr/>
                <p14:nvPr/>
              </p14:nvContentPartPr>
              <p14:xfrm>
                <a:off x="10388289" y="1051471"/>
                <a:ext cx="134280" cy="193680"/>
              </p14:xfrm>
            </p:contentPart>
          </mc:Choice>
          <mc:Fallback xmlns="">
            <p:pic>
              <p:nvPicPr>
                <p:cNvPr id="37" name="Ink 36">
                  <a:extLst>
                    <a:ext uri="{FF2B5EF4-FFF2-40B4-BE49-F238E27FC236}">
                      <a16:creationId xmlns:a16="http://schemas.microsoft.com/office/drawing/2014/main" id="{538A67A8-2DF3-40F1-9179-0F93719BB4D9}"/>
                    </a:ext>
                  </a:extLst>
                </p:cNvPr>
                <p:cNvPicPr/>
                <p:nvPr/>
              </p:nvPicPr>
              <p:blipFill>
                <a:blip r:embed="rId31"/>
                <a:stretch>
                  <a:fillRect/>
                </a:stretch>
              </p:blipFill>
              <p:spPr>
                <a:xfrm>
                  <a:off x="10370289" y="1033831"/>
                  <a:ext cx="169920" cy="229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2">
              <p14:nvContentPartPr>
                <p14:cNvPr id="38" name="Ink 37">
                  <a:extLst>
                    <a:ext uri="{FF2B5EF4-FFF2-40B4-BE49-F238E27FC236}">
                      <a16:creationId xmlns:a16="http://schemas.microsoft.com/office/drawing/2014/main" id="{AFAA7D11-7E83-409A-B960-C6C1960D46FD}"/>
                    </a:ext>
                  </a:extLst>
                </p14:cNvPr>
                <p14:cNvContentPartPr/>
                <p14:nvPr/>
              </p14:nvContentPartPr>
              <p14:xfrm>
                <a:off x="10561809" y="1099711"/>
                <a:ext cx="26640" cy="154800"/>
              </p14:xfrm>
            </p:contentPart>
          </mc:Choice>
          <mc:Fallback xmlns="">
            <p:pic>
              <p:nvPicPr>
                <p:cNvPr id="38" name="Ink 37">
                  <a:extLst>
                    <a:ext uri="{FF2B5EF4-FFF2-40B4-BE49-F238E27FC236}">
                      <a16:creationId xmlns:a16="http://schemas.microsoft.com/office/drawing/2014/main" id="{AFAA7D11-7E83-409A-B960-C6C1960D46FD}"/>
                    </a:ext>
                  </a:extLst>
                </p:cNvPr>
                <p:cNvPicPr/>
                <p:nvPr/>
              </p:nvPicPr>
              <p:blipFill>
                <a:blip r:embed="rId33"/>
                <a:stretch>
                  <a:fillRect/>
                </a:stretch>
              </p:blipFill>
              <p:spPr>
                <a:xfrm>
                  <a:off x="10543809" y="1082071"/>
                  <a:ext cx="62280" cy="190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4">
              <p14:nvContentPartPr>
                <p14:cNvPr id="40" name="Ink 39">
                  <a:extLst>
                    <a:ext uri="{FF2B5EF4-FFF2-40B4-BE49-F238E27FC236}">
                      <a16:creationId xmlns:a16="http://schemas.microsoft.com/office/drawing/2014/main" id="{70D3BA54-3264-4265-B2AE-9FA3199D8F48}"/>
                    </a:ext>
                  </a:extLst>
                </p14:cNvPr>
                <p14:cNvContentPartPr/>
                <p14:nvPr/>
              </p14:nvContentPartPr>
              <p14:xfrm>
                <a:off x="10659369" y="1065511"/>
                <a:ext cx="111600" cy="181440"/>
              </p14:xfrm>
            </p:contentPart>
          </mc:Choice>
          <mc:Fallback xmlns="">
            <p:pic>
              <p:nvPicPr>
                <p:cNvPr id="40" name="Ink 39">
                  <a:extLst>
                    <a:ext uri="{FF2B5EF4-FFF2-40B4-BE49-F238E27FC236}">
                      <a16:creationId xmlns:a16="http://schemas.microsoft.com/office/drawing/2014/main" id="{70D3BA54-3264-4265-B2AE-9FA3199D8F48}"/>
                    </a:ext>
                  </a:extLst>
                </p:cNvPr>
                <p:cNvPicPr/>
                <p:nvPr/>
              </p:nvPicPr>
              <p:blipFill>
                <a:blip r:embed="rId35"/>
                <a:stretch>
                  <a:fillRect/>
                </a:stretch>
              </p:blipFill>
              <p:spPr>
                <a:xfrm>
                  <a:off x="10641729" y="1047511"/>
                  <a:ext cx="147240" cy="217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6">
              <p14:nvContentPartPr>
                <p14:cNvPr id="41" name="Ink 40">
                  <a:extLst>
                    <a:ext uri="{FF2B5EF4-FFF2-40B4-BE49-F238E27FC236}">
                      <a16:creationId xmlns:a16="http://schemas.microsoft.com/office/drawing/2014/main" id="{CE3AF0C4-9F8B-4EE7-B18E-33E5E07E1071}"/>
                    </a:ext>
                  </a:extLst>
                </p14:cNvPr>
                <p14:cNvContentPartPr/>
                <p14:nvPr/>
              </p14:nvContentPartPr>
              <p14:xfrm>
                <a:off x="10690329" y="1183591"/>
                <a:ext cx="69120" cy="26280"/>
              </p14:xfrm>
            </p:contentPart>
          </mc:Choice>
          <mc:Fallback xmlns="">
            <p:pic>
              <p:nvPicPr>
                <p:cNvPr id="41" name="Ink 40">
                  <a:extLst>
                    <a:ext uri="{FF2B5EF4-FFF2-40B4-BE49-F238E27FC236}">
                      <a16:creationId xmlns:a16="http://schemas.microsoft.com/office/drawing/2014/main" id="{CE3AF0C4-9F8B-4EE7-B18E-33E5E07E1071}"/>
                    </a:ext>
                  </a:extLst>
                </p:cNvPr>
                <p:cNvPicPr/>
                <p:nvPr/>
              </p:nvPicPr>
              <p:blipFill>
                <a:blip r:embed="rId37"/>
                <a:stretch>
                  <a:fillRect/>
                </a:stretch>
              </p:blipFill>
              <p:spPr>
                <a:xfrm>
                  <a:off x="10672689" y="1165591"/>
                  <a:ext cx="104760" cy="61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8">
              <p14:nvContentPartPr>
                <p14:cNvPr id="44" name="Ink 43">
                  <a:extLst>
                    <a:ext uri="{FF2B5EF4-FFF2-40B4-BE49-F238E27FC236}">
                      <a16:creationId xmlns:a16="http://schemas.microsoft.com/office/drawing/2014/main" id="{37425948-2561-4AA9-BD2F-AFEB797E16C8}"/>
                    </a:ext>
                  </a:extLst>
                </p14:cNvPr>
                <p14:cNvContentPartPr/>
                <p14:nvPr/>
              </p14:nvContentPartPr>
              <p14:xfrm>
                <a:off x="11046369" y="1060471"/>
                <a:ext cx="135360" cy="154080"/>
              </p14:xfrm>
            </p:contentPart>
          </mc:Choice>
          <mc:Fallback xmlns="">
            <p:pic>
              <p:nvPicPr>
                <p:cNvPr id="44" name="Ink 43">
                  <a:extLst>
                    <a:ext uri="{FF2B5EF4-FFF2-40B4-BE49-F238E27FC236}">
                      <a16:creationId xmlns:a16="http://schemas.microsoft.com/office/drawing/2014/main" id="{37425948-2561-4AA9-BD2F-AFEB797E16C8}"/>
                    </a:ext>
                  </a:extLst>
                </p:cNvPr>
                <p:cNvPicPr/>
                <p:nvPr/>
              </p:nvPicPr>
              <p:blipFill>
                <a:blip r:embed="rId39"/>
                <a:stretch>
                  <a:fillRect/>
                </a:stretch>
              </p:blipFill>
              <p:spPr>
                <a:xfrm>
                  <a:off x="11028729" y="1042831"/>
                  <a:ext cx="171000" cy="189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0">
              <p14:nvContentPartPr>
                <p14:cNvPr id="46" name="Ink 45">
                  <a:extLst>
                    <a:ext uri="{FF2B5EF4-FFF2-40B4-BE49-F238E27FC236}">
                      <a16:creationId xmlns:a16="http://schemas.microsoft.com/office/drawing/2014/main" id="{6E3F4BD2-3C87-4819-8753-FBEB95FD2494}"/>
                    </a:ext>
                  </a:extLst>
                </p14:cNvPr>
                <p14:cNvContentPartPr/>
                <p14:nvPr/>
              </p14:nvContentPartPr>
              <p14:xfrm>
                <a:off x="11335809" y="1042831"/>
                <a:ext cx="117720" cy="190440"/>
              </p14:xfrm>
            </p:contentPart>
          </mc:Choice>
          <mc:Fallback xmlns="">
            <p:pic>
              <p:nvPicPr>
                <p:cNvPr id="46" name="Ink 45">
                  <a:extLst>
                    <a:ext uri="{FF2B5EF4-FFF2-40B4-BE49-F238E27FC236}">
                      <a16:creationId xmlns:a16="http://schemas.microsoft.com/office/drawing/2014/main" id="{6E3F4BD2-3C87-4819-8753-FBEB95FD2494}"/>
                    </a:ext>
                  </a:extLst>
                </p:cNvPr>
                <p:cNvPicPr/>
                <p:nvPr/>
              </p:nvPicPr>
              <p:blipFill>
                <a:blip r:embed="rId41"/>
                <a:stretch>
                  <a:fillRect/>
                </a:stretch>
              </p:blipFill>
              <p:spPr>
                <a:xfrm>
                  <a:off x="11318169" y="1024831"/>
                  <a:ext cx="153360" cy="226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2">
              <p14:nvContentPartPr>
                <p14:cNvPr id="47" name="Ink 46">
                  <a:extLst>
                    <a:ext uri="{FF2B5EF4-FFF2-40B4-BE49-F238E27FC236}">
                      <a16:creationId xmlns:a16="http://schemas.microsoft.com/office/drawing/2014/main" id="{649C39A6-87D0-4247-85FB-8B8A3CD511B5}"/>
                    </a:ext>
                  </a:extLst>
                </p14:cNvPr>
                <p14:cNvContentPartPr/>
                <p14:nvPr/>
              </p14:nvContentPartPr>
              <p14:xfrm>
                <a:off x="11501409" y="1142911"/>
                <a:ext cx="25920" cy="3960"/>
              </p14:xfrm>
            </p:contentPart>
          </mc:Choice>
          <mc:Fallback xmlns="">
            <p:pic>
              <p:nvPicPr>
                <p:cNvPr id="47" name="Ink 46">
                  <a:extLst>
                    <a:ext uri="{FF2B5EF4-FFF2-40B4-BE49-F238E27FC236}">
                      <a16:creationId xmlns:a16="http://schemas.microsoft.com/office/drawing/2014/main" id="{649C39A6-87D0-4247-85FB-8B8A3CD511B5}"/>
                    </a:ext>
                  </a:extLst>
                </p:cNvPr>
                <p:cNvPicPr/>
                <p:nvPr/>
              </p:nvPicPr>
              <p:blipFill>
                <a:blip r:embed="rId43"/>
                <a:stretch>
                  <a:fillRect/>
                </a:stretch>
              </p:blipFill>
              <p:spPr>
                <a:xfrm>
                  <a:off x="11483409" y="1125271"/>
                  <a:ext cx="61560" cy="39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4">
              <p14:nvContentPartPr>
                <p14:cNvPr id="48" name="Ink 47">
                  <a:extLst>
                    <a:ext uri="{FF2B5EF4-FFF2-40B4-BE49-F238E27FC236}">
                      <a16:creationId xmlns:a16="http://schemas.microsoft.com/office/drawing/2014/main" id="{5C2A7E6C-78B4-45D6-BA09-62DA576C0F84}"/>
                    </a:ext>
                  </a:extLst>
                </p14:cNvPr>
                <p14:cNvContentPartPr/>
                <p14:nvPr/>
              </p14:nvContentPartPr>
              <p14:xfrm>
                <a:off x="11573409" y="1044631"/>
                <a:ext cx="85680" cy="135000"/>
              </p14:xfrm>
            </p:contentPart>
          </mc:Choice>
          <mc:Fallback xmlns="">
            <p:pic>
              <p:nvPicPr>
                <p:cNvPr id="48" name="Ink 47">
                  <a:extLst>
                    <a:ext uri="{FF2B5EF4-FFF2-40B4-BE49-F238E27FC236}">
                      <a16:creationId xmlns:a16="http://schemas.microsoft.com/office/drawing/2014/main" id="{5C2A7E6C-78B4-45D6-BA09-62DA576C0F84}"/>
                    </a:ext>
                  </a:extLst>
                </p:cNvPr>
                <p:cNvPicPr/>
                <p:nvPr/>
              </p:nvPicPr>
              <p:blipFill>
                <a:blip r:embed="rId45"/>
                <a:stretch>
                  <a:fillRect/>
                </a:stretch>
              </p:blipFill>
              <p:spPr>
                <a:xfrm>
                  <a:off x="11555769" y="1026991"/>
                  <a:ext cx="121320" cy="170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6">
              <p14:nvContentPartPr>
                <p14:cNvPr id="52" name="Ink 51">
                  <a:extLst>
                    <a:ext uri="{FF2B5EF4-FFF2-40B4-BE49-F238E27FC236}">
                      <a16:creationId xmlns:a16="http://schemas.microsoft.com/office/drawing/2014/main" id="{B50067FE-E677-4456-8989-49504D40C027}"/>
                    </a:ext>
                  </a:extLst>
                </p14:cNvPr>
                <p14:cNvContentPartPr/>
                <p14:nvPr/>
              </p14:nvContentPartPr>
              <p14:xfrm>
                <a:off x="11706249" y="1061911"/>
                <a:ext cx="75960" cy="135360"/>
              </p14:xfrm>
            </p:contentPart>
          </mc:Choice>
          <mc:Fallback xmlns="">
            <p:pic>
              <p:nvPicPr>
                <p:cNvPr id="52" name="Ink 51">
                  <a:extLst>
                    <a:ext uri="{FF2B5EF4-FFF2-40B4-BE49-F238E27FC236}">
                      <a16:creationId xmlns:a16="http://schemas.microsoft.com/office/drawing/2014/main" id="{B50067FE-E677-4456-8989-49504D40C027}"/>
                    </a:ext>
                  </a:extLst>
                </p:cNvPr>
                <p:cNvPicPr/>
                <p:nvPr/>
              </p:nvPicPr>
              <p:blipFill>
                <a:blip r:embed="rId47"/>
                <a:stretch>
                  <a:fillRect/>
                </a:stretch>
              </p:blipFill>
              <p:spPr>
                <a:xfrm>
                  <a:off x="11688249" y="1044271"/>
                  <a:ext cx="111600" cy="171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8">
              <p14:nvContentPartPr>
                <p14:cNvPr id="53" name="Ink 52">
                  <a:extLst>
                    <a:ext uri="{FF2B5EF4-FFF2-40B4-BE49-F238E27FC236}">
                      <a16:creationId xmlns:a16="http://schemas.microsoft.com/office/drawing/2014/main" id="{026E1CC7-C606-4F60-A85C-96A6C6354303}"/>
                    </a:ext>
                  </a:extLst>
                </p14:cNvPr>
                <p14:cNvContentPartPr/>
                <p14:nvPr/>
              </p14:nvContentPartPr>
              <p14:xfrm>
                <a:off x="11800209" y="1066231"/>
                <a:ext cx="23040" cy="191160"/>
              </p14:xfrm>
            </p:contentPart>
          </mc:Choice>
          <mc:Fallback xmlns="">
            <p:pic>
              <p:nvPicPr>
                <p:cNvPr id="53" name="Ink 52">
                  <a:extLst>
                    <a:ext uri="{FF2B5EF4-FFF2-40B4-BE49-F238E27FC236}">
                      <a16:creationId xmlns:a16="http://schemas.microsoft.com/office/drawing/2014/main" id="{026E1CC7-C606-4F60-A85C-96A6C6354303}"/>
                    </a:ext>
                  </a:extLst>
                </p:cNvPr>
                <p:cNvPicPr/>
                <p:nvPr/>
              </p:nvPicPr>
              <p:blipFill>
                <a:blip r:embed="rId49"/>
                <a:stretch>
                  <a:fillRect/>
                </a:stretch>
              </p:blipFill>
              <p:spPr>
                <a:xfrm>
                  <a:off x="11782569" y="1048231"/>
                  <a:ext cx="58680" cy="22680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7832429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AC27B92-CF91-49EA-8D28-F8DE24CCD0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847688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28" imgH="328" progId="TCLayout.ActiveDocument.1">
                  <p:embed/>
                </p:oleObj>
              </mc:Choice>
              <mc:Fallback>
                <p:oleObj name="think-cell Slide" r:id="rId5" imgW="328" imgH="32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AC27B92-CF91-49EA-8D28-F8DE24CCD0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F4FCFE0-CAE9-499F-A5EA-6E115F0882A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00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8 PayPal Inc. Confidential and proprietary.</a:t>
            </a:r>
            <a:endParaRPr lang="en-GB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02445" y="235186"/>
            <a:ext cx="11187113" cy="311151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</a:pPr>
            <a:r>
              <a:rPr lang="en-US" sz="4000" dirty="0">
                <a:solidFill>
                  <a:schemeClr val="accent1"/>
                </a:solidFill>
                <a:latin typeface="Arial" panose="020B0604020202020204" pitchFamily="34" charset="0"/>
              </a:rPr>
              <a:t>Parameter v/s Statistic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2F78C87-2A63-49B0-9A1E-6CD3F7EF918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7712" y="987879"/>
            <a:ext cx="6999517" cy="37338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B66001C-C854-4A73-9D50-281208F9401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94173" y="1402580"/>
            <a:ext cx="4178937" cy="2917092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C609C5A-69B5-4BA9-8B39-74F5032DC1E6}"/>
              </a:ext>
            </a:extLst>
          </p:cNvPr>
          <p:cNvSpPr txBox="1">
            <a:spLocks/>
          </p:cNvSpPr>
          <p:nvPr/>
        </p:nvSpPr>
        <p:spPr>
          <a:xfrm>
            <a:off x="190685" y="4922079"/>
            <a:ext cx="11782425" cy="133584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1800" b="1" dirty="0">
                <a:solidFill>
                  <a:srgbClr val="595959"/>
                </a:solidFill>
                <a:latin typeface="Arial" panose="020B0604020202020204" pitchFamily="34" charset="0"/>
              </a:rPr>
              <a:t>Example – </a:t>
            </a:r>
            <a:r>
              <a:rPr lang="en-US" sz="1800" dirty="0">
                <a:solidFill>
                  <a:srgbClr val="595959"/>
                </a:solidFill>
                <a:latin typeface="Arial" panose="020B0604020202020204" pitchFamily="34" charset="0"/>
              </a:rPr>
              <a:t>A properly chosen sample of 1600 people across the country was asked if they regularly watch a certain television program, 24% said yes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1800" b="1" dirty="0">
                <a:solidFill>
                  <a:srgbClr val="595959"/>
                </a:solidFill>
                <a:latin typeface="Arial" panose="020B0604020202020204" pitchFamily="34" charset="0"/>
              </a:rPr>
              <a:t>Parameter –</a:t>
            </a:r>
            <a:r>
              <a:rPr lang="en-US" sz="1800" dirty="0">
                <a:solidFill>
                  <a:srgbClr val="595959"/>
                </a:solidFill>
                <a:latin typeface="Arial" panose="020B0604020202020204" pitchFamily="34" charset="0"/>
              </a:rPr>
              <a:t> The true proportion of all people in the country who watch the program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1800" b="1" dirty="0">
                <a:solidFill>
                  <a:srgbClr val="595959"/>
                </a:solidFill>
                <a:latin typeface="Arial" panose="020B0604020202020204" pitchFamily="34" charset="0"/>
              </a:rPr>
              <a:t>Statistic  - 24%, </a:t>
            </a:r>
            <a:r>
              <a:rPr lang="en-US" sz="1800" dirty="0">
                <a:solidFill>
                  <a:srgbClr val="595959"/>
                </a:solidFill>
                <a:latin typeface="Arial" panose="020B0604020202020204" pitchFamily="34" charset="0"/>
              </a:rPr>
              <a:t>obtained from a sample of 1600 people</a:t>
            </a:r>
          </a:p>
        </p:txBody>
      </p:sp>
    </p:spTree>
    <p:extLst>
      <p:ext uri="{BB962C8B-B14F-4D97-AF65-F5344CB8AC3E}">
        <p14:creationId xmlns:p14="http://schemas.microsoft.com/office/powerpoint/2010/main" val="112902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F648BD9-4AD6-4B3D-B00B-B154450C2A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23160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F648BD9-4AD6-4B3D-B00B-B154450C2A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FCBB248-4DFD-41B3-BAA2-BBC7C388911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2440C3A-A635-4CB2-AABA-F385CCC65A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925" y="288925"/>
            <a:ext cx="10515600" cy="587375"/>
          </a:xfrm>
        </p:spPr>
        <p:txBody>
          <a:bodyPr>
            <a:normAutofit fontScale="90000"/>
          </a:bodyPr>
          <a:lstStyle/>
          <a:p>
            <a:pPr rtl="0">
              <a:spcBef>
                <a:spcPts val="0"/>
              </a:spcBef>
              <a:spcAft>
                <a:spcPts val="0"/>
              </a:spcAft>
            </a:pPr>
            <a:r>
              <a:rPr lang="en-US" sz="4400" b="0" i="0" u="none" strike="noStrike" dirty="0">
                <a:solidFill>
                  <a:schemeClr val="accent1"/>
                </a:solidFill>
                <a:effectLst/>
                <a:latin typeface="Arial" panose="020B0604020202020204" pitchFamily="34" charset="0"/>
              </a:rPr>
              <a:t>Probability Theory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3B6540-D072-4BE4-9C5D-272364F024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1925" y="824121"/>
            <a:ext cx="4657725" cy="410370"/>
          </a:xfrm>
        </p:spPr>
        <p:txBody>
          <a:bodyPr anchor="ctr">
            <a:normAutofit/>
          </a:bodyPr>
          <a:lstStyle/>
          <a:p>
            <a:pPr marL="0" indent="0" rtl="0">
              <a:spcBef>
                <a:spcPts val="0"/>
              </a:spcBef>
              <a:spcAft>
                <a:spcPts val="1600"/>
              </a:spcAft>
              <a:buNone/>
            </a:pPr>
            <a:r>
              <a:rPr lang="en-US" sz="1800" b="1" i="0" u="none" strike="noStrike" dirty="0">
                <a:solidFill>
                  <a:srgbClr val="595959"/>
                </a:solidFill>
                <a:effectLst/>
                <a:latin typeface="Arial" panose="020B0604020202020204" pitchFamily="34" charset="0"/>
              </a:rPr>
              <a:t>The chance that an event will occur</a:t>
            </a:r>
            <a:endParaRPr lang="en-US" b="0" dirty="0">
              <a:effectLst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AFA8401-552E-4553-BC40-E3ADD2CAF096}"/>
              </a:ext>
            </a:extLst>
          </p:cNvPr>
          <p:cNvSpPr txBox="1">
            <a:spLocks/>
          </p:cNvSpPr>
          <p:nvPr/>
        </p:nvSpPr>
        <p:spPr>
          <a:xfrm>
            <a:off x="114300" y="3127044"/>
            <a:ext cx="11801476" cy="13680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1800" b="1" dirty="0">
                <a:solidFill>
                  <a:srgbClr val="595959"/>
                </a:solidFill>
                <a:latin typeface="Arial" panose="020B0604020202020204" pitchFamily="34" charset="0"/>
              </a:rPr>
              <a:t>Flipping a coin –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1800" b="1" dirty="0">
                <a:solidFill>
                  <a:schemeClr val="accent2"/>
                </a:solidFill>
                <a:latin typeface="Arial" panose="020B0604020202020204" pitchFamily="34" charset="0"/>
              </a:rPr>
              <a:t>Total number of possible outcomes – 2 (Head or Tail)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1800" b="1" dirty="0">
                <a:solidFill>
                  <a:schemeClr val="accent1"/>
                </a:solidFill>
                <a:latin typeface="Arial" panose="020B0604020202020204" pitchFamily="34" charset="0"/>
              </a:rPr>
              <a:t>Total number of favorable outcomes – 1 </a:t>
            </a:r>
            <a:r>
              <a:rPr lang="en-US" sz="1600" b="1" dirty="0">
                <a:solidFill>
                  <a:schemeClr val="accent1"/>
                </a:solidFill>
                <a:latin typeface="Arial" panose="020B0604020202020204" pitchFamily="34" charset="0"/>
              </a:rPr>
              <a:t>(either a head or tail)</a:t>
            </a:r>
            <a:endParaRPr lang="en-US" sz="1800" b="1" dirty="0">
              <a:solidFill>
                <a:schemeClr val="accent1"/>
              </a:solidFill>
              <a:latin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</a:pPr>
            <a:r>
              <a:rPr lang="en-US" sz="1800" b="1" i="1" u="sng" dirty="0">
                <a:solidFill>
                  <a:srgbClr val="595959"/>
                </a:solidFill>
                <a:latin typeface="Arial" panose="020B0604020202020204" pitchFamily="34" charset="0"/>
              </a:rPr>
              <a:t>Probability Formula </a:t>
            </a:r>
            <a:r>
              <a:rPr lang="en-US" sz="1800" dirty="0">
                <a:solidFill>
                  <a:srgbClr val="595959"/>
                </a:solidFill>
                <a:latin typeface="Arial" panose="020B0604020202020204" pitchFamily="34" charset="0"/>
              </a:rPr>
              <a:t> = </a:t>
            </a:r>
            <a:r>
              <a:rPr lang="en-US" sz="1800" b="1" dirty="0">
                <a:solidFill>
                  <a:srgbClr val="595959"/>
                </a:solidFill>
                <a:latin typeface="Arial" panose="020B0604020202020204" pitchFamily="34" charset="0"/>
              </a:rPr>
              <a:t>1/2</a:t>
            </a:r>
            <a:endParaRPr lang="en-US" sz="1200" b="1" i="1" u="sng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D2A3615-3234-40DB-93DC-A550CE87CB74}"/>
              </a:ext>
            </a:extLst>
          </p:cNvPr>
          <p:cNvSpPr/>
          <p:nvPr/>
        </p:nvSpPr>
        <p:spPr>
          <a:xfrm>
            <a:off x="2343150" y="1905316"/>
            <a:ext cx="5972175" cy="45719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DFA05AB4-A6E7-478E-8094-F0D1700FE706}"/>
              </a:ext>
            </a:extLst>
          </p:cNvPr>
          <p:cNvSpPr txBox="1">
            <a:spLocks/>
          </p:cNvSpPr>
          <p:nvPr/>
        </p:nvSpPr>
        <p:spPr>
          <a:xfrm>
            <a:off x="2343150" y="1535680"/>
            <a:ext cx="5972175" cy="36465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</a:pPr>
            <a:r>
              <a:rPr lang="en-US" sz="2400" b="1" dirty="0">
                <a:solidFill>
                  <a:schemeClr val="accent1"/>
                </a:solidFill>
                <a:latin typeface="Arial" panose="020B0604020202020204" pitchFamily="34" charset="0"/>
              </a:rPr>
              <a:t>Total number of favorable outcomes</a:t>
            </a:r>
            <a:endParaRPr lang="en-US" sz="3600" b="1" dirty="0">
              <a:solidFill>
                <a:schemeClr val="accent1"/>
              </a:solidFill>
            </a:endParaRP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E53D6D80-2472-4798-9483-8EE3918D2E15}"/>
              </a:ext>
            </a:extLst>
          </p:cNvPr>
          <p:cNvSpPr txBox="1">
            <a:spLocks/>
          </p:cNvSpPr>
          <p:nvPr/>
        </p:nvSpPr>
        <p:spPr>
          <a:xfrm>
            <a:off x="2343150" y="2014884"/>
            <a:ext cx="5972175" cy="36465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</a:pPr>
            <a:r>
              <a:rPr lang="en-US" sz="2400" b="1" dirty="0">
                <a:solidFill>
                  <a:schemeClr val="accent2"/>
                </a:solidFill>
                <a:latin typeface="Arial" panose="020B0604020202020204" pitchFamily="34" charset="0"/>
              </a:rPr>
              <a:t>Total number of possible outcomes</a:t>
            </a:r>
            <a:endParaRPr lang="en-US" sz="3600" b="1" dirty="0">
              <a:solidFill>
                <a:schemeClr val="accent2"/>
              </a:solidFill>
            </a:endParaRP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B992CFFF-110C-4F65-BC9E-32411E87349B}"/>
              </a:ext>
            </a:extLst>
          </p:cNvPr>
          <p:cNvSpPr txBox="1">
            <a:spLocks/>
          </p:cNvSpPr>
          <p:nvPr/>
        </p:nvSpPr>
        <p:spPr>
          <a:xfrm>
            <a:off x="4076700" y="2443386"/>
            <a:ext cx="2447925" cy="65584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</a:pPr>
            <a:r>
              <a:rPr lang="en-US" sz="1800" b="1" i="1" u="sng" dirty="0">
                <a:solidFill>
                  <a:srgbClr val="595959"/>
                </a:solidFill>
                <a:latin typeface="Arial" panose="020B0604020202020204" pitchFamily="34" charset="0"/>
              </a:rPr>
              <a:t>Probability Formula</a:t>
            </a:r>
            <a:endParaRPr lang="en-US" i="1" u="sng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8BD8906C-BD0D-47A6-8389-CC7108336A66}"/>
              </a:ext>
            </a:extLst>
          </p:cNvPr>
          <p:cNvSpPr txBox="1">
            <a:spLocks/>
          </p:cNvSpPr>
          <p:nvPr/>
        </p:nvSpPr>
        <p:spPr>
          <a:xfrm>
            <a:off x="161925" y="4987065"/>
            <a:ext cx="11801476" cy="13680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1800" b="1" dirty="0">
                <a:solidFill>
                  <a:srgbClr val="595959"/>
                </a:solidFill>
                <a:latin typeface="Arial" panose="020B0604020202020204" pitchFamily="34" charset="0"/>
              </a:rPr>
              <a:t>Flipping two coins –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1800" b="1" dirty="0">
                <a:solidFill>
                  <a:schemeClr val="accent2"/>
                </a:solidFill>
                <a:latin typeface="Arial" panose="020B0604020202020204" pitchFamily="34" charset="0"/>
              </a:rPr>
              <a:t>Total number of possible outcomes – 4 (HH, HT, TH, TT)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1800" b="1" dirty="0">
                <a:solidFill>
                  <a:schemeClr val="accent1"/>
                </a:solidFill>
                <a:latin typeface="Arial" panose="020B0604020202020204" pitchFamily="34" charset="0"/>
              </a:rPr>
              <a:t>Total number of favorable outcomes – 1 (one out of above 4)</a:t>
            </a:r>
          </a:p>
          <a:p>
            <a:pPr marL="0" indent="0"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</a:pPr>
            <a:r>
              <a:rPr lang="en-US" sz="1800" b="1" i="1" u="sng" dirty="0">
                <a:solidFill>
                  <a:srgbClr val="595959"/>
                </a:solidFill>
                <a:latin typeface="Arial" panose="020B0604020202020204" pitchFamily="34" charset="0"/>
              </a:rPr>
              <a:t>Probability Formula  for both heads </a:t>
            </a:r>
            <a:r>
              <a:rPr lang="en-US" sz="1800" dirty="0">
                <a:solidFill>
                  <a:srgbClr val="595959"/>
                </a:solidFill>
                <a:latin typeface="Arial" panose="020B0604020202020204" pitchFamily="34" charset="0"/>
              </a:rPr>
              <a:t>= </a:t>
            </a:r>
            <a:r>
              <a:rPr lang="en-US" sz="1800" b="1" dirty="0">
                <a:solidFill>
                  <a:srgbClr val="595959"/>
                </a:solidFill>
                <a:latin typeface="Arial" panose="020B0604020202020204" pitchFamily="34" charset="0"/>
              </a:rPr>
              <a:t>1/4 </a:t>
            </a:r>
            <a:endParaRPr lang="en-US" sz="1200" b="1" i="1" u="sng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00BEF90-BD44-49BA-B4F9-F63AF9F01F73}"/>
              </a:ext>
            </a:extLst>
          </p:cNvPr>
          <p:cNvSpPr txBox="1">
            <a:spLocks/>
          </p:cNvSpPr>
          <p:nvPr/>
        </p:nvSpPr>
        <p:spPr>
          <a:xfrm>
            <a:off x="7515226" y="3205118"/>
            <a:ext cx="4562474" cy="131776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1800" b="1" dirty="0">
                <a:solidFill>
                  <a:srgbClr val="595959"/>
                </a:solidFill>
                <a:latin typeface="Arial" panose="020B0604020202020204" pitchFamily="34" charset="0"/>
              </a:rPr>
              <a:t>Rolling a die –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1800" b="1" dirty="0">
                <a:solidFill>
                  <a:schemeClr val="accent2"/>
                </a:solidFill>
                <a:latin typeface="Arial" panose="020B0604020202020204" pitchFamily="34" charset="0"/>
              </a:rPr>
              <a:t>Total number of possible outcomes – 6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1800" b="1" dirty="0">
                <a:solidFill>
                  <a:schemeClr val="accent1"/>
                </a:solidFill>
                <a:latin typeface="Arial" panose="020B0604020202020204" pitchFamily="34" charset="0"/>
              </a:rPr>
              <a:t>Total number of favorable outcomes – 1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1600" b="1" dirty="0">
                <a:solidFill>
                  <a:schemeClr val="accent1"/>
                </a:solidFill>
                <a:latin typeface="Arial" panose="020B0604020202020204" pitchFamily="34" charset="0"/>
              </a:rPr>
              <a:t>(any number from 1 to 6)</a:t>
            </a:r>
          </a:p>
          <a:p>
            <a:pPr marL="0" indent="0"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</a:pPr>
            <a:r>
              <a:rPr lang="en-US" sz="1800" b="1" i="1" u="sng" dirty="0">
                <a:solidFill>
                  <a:srgbClr val="595959"/>
                </a:solidFill>
                <a:latin typeface="Arial" panose="020B0604020202020204" pitchFamily="34" charset="0"/>
              </a:rPr>
              <a:t>Probability Formula </a:t>
            </a:r>
            <a:r>
              <a:rPr lang="en-US" sz="1800" dirty="0">
                <a:solidFill>
                  <a:srgbClr val="595959"/>
                </a:solidFill>
                <a:latin typeface="Arial" panose="020B0604020202020204" pitchFamily="34" charset="0"/>
              </a:rPr>
              <a:t> = </a:t>
            </a:r>
            <a:r>
              <a:rPr lang="en-US" sz="1800" b="1" dirty="0">
                <a:solidFill>
                  <a:srgbClr val="595959"/>
                </a:solidFill>
                <a:latin typeface="Arial" panose="020B0604020202020204" pitchFamily="34" charset="0"/>
              </a:rPr>
              <a:t>1/6</a:t>
            </a:r>
            <a:endParaRPr lang="en-US" sz="1200" b="1" i="1" u="sng" dirty="0"/>
          </a:p>
        </p:txBody>
      </p:sp>
    </p:spTree>
    <p:extLst>
      <p:ext uri="{BB962C8B-B14F-4D97-AF65-F5344CB8AC3E}">
        <p14:creationId xmlns:p14="http://schemas.microsoft.com/office/powerpoint/2010/main" val="36639925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F648BD9-4AD6-4B3D-B00B-B154450C2A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569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F648BD9-4AD6-4B3D-B00B-B154450C2A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FCBB248-4DFD-41B3-BAA2-BBC7C388911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2440C3A-A635-4CB2-AABA-F385CCC65A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925" y="288925"/>
            <a:ext cx="10515600" cy="587375"/>
          </a:xfrm>
        </p:spPr>
        <p:txBody>
          <a:bodyPr>
            <a:normAutofit fontScale="90000"/>
          </a:bodyPr>
          <a:lstStyle/>
          <a:p>
            <a:pPr rtl="0">
              <a:spcBef>
                <a:spcPts val="0"/>
              </a:spcBef>
              <a:spcAft>
                <a:spcPts val="0"/>
              </a:spcAft>
            </a:pPr>
            <a:r>
              <a:rPr lang="en-US" sz="4400" b="0" i="0" u="none" strike="noStrike" dirty="0">
                <a:solidFill>
                  <a:schemeClr val="accent1"/>
                </a:solidFill>
                <a:effectLst/>
                <a:latin typeface="Arial" panose="020B0604020202020204" pitchFamily="34" charset="0"/>
              </a:rPr>
              <a:t>Independent and Dependent Events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3B6540-D072-4BE4-9C5D-272364F024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1925" y="824121"/>
            <a:ext cx="11496675" cy="410370"/>
          </a:xfrm>
        </p:spPr>
        <p:txBody>
          <a:bodyPr anchor="ctr">
            <a:normAutofit/>
          </a:bodyPr>
          <a:lstStyle/>
          <a:p>
            <a:pPr marL="0" indent="0" rtl="0">
              <a:spcBef>
                <a:spcPts val="0"/>
              </a:spcBef>
              <a:spcAft>
                <a:spcPts val="1600"/>
              </a:spcAft>
              <a:buNone/>
            </a:pPr>
            <a:r>
              <a:rPr lang="en-US" sz="1800" b="1" i="0" u="none" strike="noStrike" dirty="0">
                <a:solidFill>
                  <a:srgbClr val="595959"/>
                </a:solidFill>
                <a:effectLst/>
                <a:latin typeface="Arial" panose="020B0604020202020204" pitchFamily="34" charset="0"/>
              </a:rPr>
              <a:t>Refer to the occurrence of one event not affecting the probability of another event</a:t>
            </a:r>
            <a:endParaRPr lang="en-US" b="0" dirty="0">
              <a:effectLst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09346B-BE38-4F34-9B98-5B0732546F45}"/>
              </a:ext>
            </a:extLst>
          </p:cNvPr>
          <p:cNvSpPr txBox="1"/>
          <p:nvPr/>
        </p:nvSpPr>
        <p:spPr>
          <a:xfrm>
            <a:off x="161925" y="1156864"/>
            <a:ext cx="273367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800" b="1" dirty="0">
                <a:solidFill>
                  <a:schemeClr val="accent2"/>
                </a:solidFill>
                <a:latin typeface="Arial" panose="020B0604020202020204" pitchFamily="34" charset="0"/>
              </a:rPr>
              <a:t>Rolling </a:t>
            </a:r>
            <a:r>
              <a:rPr lang="en-US" b="1" dirty="0">
                <a:solidFill>
                  <a:schemeClr val="accent2"/>
                </a:solidFill>
                <a:latin typeface="Arial" panose="020B0604020202020204" pitchFamily="34" charset="0"/>
              </a:rPr>
              <a:t>t</a:t>
            </a:r>
            <a:r>
              <a:rPr lang="en-US" sz="1800" b="1" dirty="0">
                <a:solidFill>
                  <a:schemeClr val="accent2"/>
                </a:solidFill>
                <a:latin typeface="Arial" panose="020B0604020202020204" pitchFamily="34" charset="0"/>
              </a:rPr>
              <a:t>wo d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1" dirty="0">
                <a:solidFill>
                  <a:schemeClr val="accent2"/>
                </a:solidFill>
                <a:latin typeface="Arial" panose="020B0604020202020204" pitchFamily="34" charset="0"/>
              </a:rPr>
              <a:t>Flipping two coin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394694A-446D-48F2-83FA-3BCA238DFDBA}"/>
              </a:ext>
            </a:extLst>
          </p:cNvPr>
          <p:cNvSpPr txBox="1">
            <a:spLocks/>
          </p:cNvSpPr>
          <p:nvPr/>
        </p:nvSpPr>
        <p:spPr>
          <a:xfrm>
            <a:off x="104299" y="2106589"/>
            <a:ext cx="11687176" cy="36212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1800" b="1" dirty="0">
                <a:solidFill>
                  <a:srgbClr val="595959"/>
                </a:solidFill>
                <a:latin typeface="Arial" panose="020B0604020202020204" pitchFamily="34" charset="0"/>
              </a:rPr>
              <a:t>Dependent Events – </a:t>
            </a:r>
            <a:r>
              <a:rPr lang="en-US" sz="1800" i="0" u="none" strike="noStrike" dirty="0">
                <a:solidFill>
                  <a:srgbClr val="595959"/>
                </a:solidFill>
                <a:effectLst/>
                <a:latin typeface="Arial" panose="020B0604020202020204" pitchFamily="34" charset="0"/>
              </a:rPr>
              <a:t>Refer to the occurrence of one event affecting the probability of another event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US" sz="1800" dirty="0">
              <a:solidFill>
                <a:srgbClr val="595959"/>
              </a:solidFill>
              <a:latin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US" sz="1800" i="0" u="none" strike="noStrike" dirty="0">
              <a:solidFill>
                <a:srgbClr val="595959"/>
              </a:solidFill>
              <a:effectLst/>
              <a:latin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US" sz="1800" dirty="0">
              <a:solidFill>
                <a:srgbClr val="595959"/>
              </a:solidFill>
              <a:latin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US" sz="1800" i="0" u="none" strike="noStrike" dirty="0">
              <a:solidFill>
                <a:srgbClr val="595959"/>
              </a:solidFill>
              <a:effectLst/>
              <a:latin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US" sz="1800" dirty="0">
              <a:solidFill>
                <a:srgbClr val="595959"/>
              </a:solidFill>
              <a:latin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US" sz="1800" i="0" u="none" strike="noStrike" dirty="0">
              <a:solidFill>
                <a:srgbClr val="595959"/>
              </a:solidFill>
              <a:effectLst/>
              <a:latin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US" sz="1800" dirty="0">
              <a:solidFill>
                <a:srgbClr val="595959"/>
              </a:solidFill>
              <a:latin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US" sz="1800" i="0" u="none" strike="noStrike" dirty="0">
              <a:solidFill>
                <a:srgbClr val="595959"/>
              </a:solidFill>
              <a:effectLst/>
              <a:latin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US" sz="1800" dirty="0">
              <a:solidFill>
                <a:srgbClr val="595959"/>
              </a:solidFill>
              <a:latin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US" sz="1800" i="0" u="none" strike="noStrike" dirty="0">
              <a:solidFill>
                <a:srgbClr val="595959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EB72D7C-1111-4ED8-8797-72FEA6BB2D1D}"/>
              </a:ext>
            </a:extLst>
          </p:cNvPr>
          <p:cNvGrpSpPr/>
          <p:nvPr/>
        </p:nvGrpSpPr>
        <p:grpSpPr>
          <a:xfrm>
            <a:off x="3143249" y="1130122"/>
            <a:ext cx="3286125" cy="743739"/>
            <a:chOff x="2819400" y="1110840"/>
            <a:chExt cx="2876550" cy="743739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754BD1E3-0189-4A2F-9D43-788169F21D49}"/>
                </a:ext>
              </a:extLst>
            </p:cNvPr>
            <p:cNvSpPr txBox="1"/>
            <p:nvPr/>
          </p:nvSpPr>
          <p:spPr>
            <a:xfrm>
              <a:off x="2819400" y="1110840"/>
              <a:ext cx="2876550" cy="646331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marL="0" indent="0" algn="ctr">
                <a:spcBef>
                  <a:spcPts val="0"/>
                </a:spcBef>
                <a:spcAft>
                  <a:spcPts val="600"/>
                </a:spcAft>
                <a:buNone/>
              </a:pPr>
              <a:r>
                <a:rPr lang="en-US" sz="1800" b="1" dirty="0">
                  <a:solidFill>
                    <a:srgbClr val="595959"/>
                  </a:solidFill>
                  <a:latin typeface="Arial" panose="020B0604020202020204" pitchFamily="34" charset="0"/>
                </a:rPr>
                <a:t>P(</a:t>
              </a:r>
              <a:r>
                <a:rPr lang="en-US" b="1" dirty="0">
                  <a:solidFill>
                    <a:srgbClr val="595959"/>
                  </a:solidFill>
                  <a:latin typeface="Arial" panose="020B0604020202020204" pitchFamily="34" charset="0"/>
                </a:rPr>
                <a:t>A          B</a:t>
              </a:r>
              <a:r>
                <a:rPr lang="en-US" sz="1800" b="1" dirty="0">
                  <a:solidFill>
                    <a:srgbClr val="595959"/>
                  </a:solidFill>
                  <a:latin typeface="Arial" panose="020B0604020202020204" pitchFamily="34" charset="0"/>
                </a:rPr>
                <a:t>) = P(A) X P(B)</a:t>
              </a:r>
              <a:endParaRPr lang="en-US" sz="1800" b="1" baseline="30000" dirty="0">
                <a:solidFill>
                  <a:srgbClr val="595959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" name="Block Arc 4">
              <a:extLst>
                <a:ext uri="{FF2B5EF4-FFF2-40B4-BE49-F238E27FC236}">
                  <a16:creationId xmlns:a16="http://schemas.microsoft.com/office/drawing/2014/main" id="{2FB980E5-CD6A-43D3-94E5-7C5B4EDD9482}"/>
                </a:ext>
              </a:extLst>
            </p:cNvPr>
            <p:cNvSpPr/>
            <p:nvPr/>
          </p:nvSpPr>
          <p:spPr>
            <a:xfrm>
              <a:off x="3429000" y="1278163"/>
              <a:ext cx="447675" cy="576416"/>
            </a:xfrm>
            <a:prstGeom prst="blockArc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DE47B844-1644-4CB6-A14C-FC426BC36FA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1469" y="2792643"/>
            <a:ext cx="2428875" cy="1912013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F5E43015-D31A-4893-8845-842094ECBBF2}"/>
              </a:ext>
            </a:extLst>
          </p:cNvPr>
          <p:cNvSpPr txBox="1"/>
          <p:nvPr/>
        </p:nvSpPr>
        <p:spPr>
          <a:xfrm>
            <a:off x="161925" y="2464780"/>
            <a:ext cx="41624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595959"/>
                </a:solidFill>
                <a:latin typeface="Arial" panose="020B0604020202020204" pitchFamily="34" charset="0"/>
              </a:rPr>
              <a:t>A box containing 10 marbles – 7 green and 3 blu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D577EE2-CD86-4194-9F50-D90EC67B78CC}"/>
              </a:ext>
            </a:extLst>
          </p:cNvPr>
          <p:cNvSpPr/>
          <p:nvPr/>
        </p:nvSpPr>
        <p:spPr>
          <a:xfrm>
            <a:off x="2845594" y="3162340"/>
            <a:ext cx="2709862" cy="10093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</a:rPr>
              <a:t>Probability of select a green marble - </a:t>
            </a:r>
          </a:p>
          <a:p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</a:rPr>
              <a:t>P(green) = 7/10</a:t>
            </a:r>
          </a:p>
          <a:p>
            <a:endParaRPr lang="en-US" sz="1200" dirty="0">
              <a:solidFill>
                <a:schemeClr val="bg1"/>
              </a:solidFill>
              <a:latin typeface="Arial" panose="020B0604020202020204" pitchFamily="34" charset="0"/>
            </a:endParaRPr>
          </a:p>
          <a:p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</a:rPr>
              <a:t>Probability of select a blue marble - </a:t>
            </a:r>
          </a:p>
          <a:p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</a:rPr>
              <a:t>P(blue) = 3/10</a:t>
            </a:r>
          </a:p>
        </p:txBody>
      </p:sp>
      <p:sp>
        <p:nvSpPr>
          <p:cNvPr id="22" name="Arrow: Right 21">
            <a:extLst>
              <a:ext uri="{FF2B5EF4-FFF2-40B4-BE49-F238E27FC236}">
                <a16:creationId xmlns:a16="http://schemas.microsoft.com/office/drawing/2014/main" id="{273FB6E1-C320-4F2F-BC81-B7E233199FF5}"/>
              </a:ext>
            </a:extLst>
          </p:cNvPr>
          <p:cNvSpPr/>
          <p:nvPr/>
        </p:nvSpPr>
        <p:spPr>
          <a:xfrm>
            <a:off x="5725955" y="3563723"/>
            <a:ext cx="347659" cy="22477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74F8D043-AC6F-43F4-B72E-14F779307BB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44114" y="2804527"/>
            <a:ext cx="3870904" cy="1888246"/>
          </a:xfrm>
          <a:prstGeom prst="rect">
            <a:avLst/>
          </a:prstGeom>
        </p:spPr>
      </p:pic>
      <p:sp>
        <p:nvSpPr>
          <p:cNvPr id="25" name="Arrow: Right 24">
            <a:extLst>
              <a:ext uri="{FF2B5EF4-FFF2-40B4-BE49-F238E27FC236}">
                <a16:creationId xmlns:a16="http://schemas.microsoft.com/office/drawing/2014/main" id="{E91A6DA9-78E7-4BAF-A337-DF83BE69E431}"/>
              </a:ext>
            </a:extLst>
          </p:cNvPr>
          <p:cNvSpPr/>
          <p:nvPr/>
        </p:nvSpPr>
        <p:spPr>
          <a:xfrm>
            <a:off x="10285518" y="3563723"/>
            <a:ext cx="347659" cy="22477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091A377-8EFA-44CB-954F-7DA91016703C}"/>
              </a:ext>
            </a:extLst>
          </p:cNvPr>
          <p:cNvSpPr txBox="1"/>
          <p:nvPr/>
        </p:nvSpPr>
        <p:spPr>
          <a:xfrm>
            <a:off x="10677526" y="3274600"/>
            <a:ext cx="1410176" cy="78483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indent="0" algn="ctr"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2000" b="1" baseline="30000" dirty="0">
                <a:solidFill>
                  <a:srgbClr val="595959"/>
                </a:solidFill>
                <a:latin typeface="Arial" panose="020B0604020202020204" pitchFamily="34" charset="0"/>
              </a:rPr>
              <a:t>P(Green and Blue Marble) = </a:t>
            </a:r>
          </a:p>
          <a:p>
            <a:pPr marL="0" indent="0" algn="ctr"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2000" b="1" baseline="30000" dirty="0">
                <a:solidFill>
                  <a:srgbClr val="595959"/>
                </a:solidFill>
                <a:latin typeface="Arial" panose="020B0604020202020204" pitchFamily="34" charset="0"/>
              </a:rPr>
              <a:t>7/10 X 3/9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363E651B-5C95-460B-8CFA-1EE6B78EF3E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23519" y="4791957"/>
            <a:ext cx="5800093" cy="1888245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F563360A-6BA1-49FD-A33D-B44A35085FD0}"/>
              </a:ext>
            </a:extLst>
          </p:cNvPr>
          <p:cNvSpPr txBox="1"/>
          <p:nvPr/>
        </p:nvSpPr>
        <p:spPr>
          <a:xfrm>
            <a:off x="9090290" y="4798566"/>
            <a:ext cx="3101709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accent1"/>
                </a:solidFill>
                <a:latin typeface="Arial" panose="020B0604020202020204" pitchFamily="34" charset="0"/>
              </a:rPr>
              <a:t>Mutually Exclusive Events – </a:t>
            </a:r>
            <a:r>
              <a:rPr lang="en-US" sz="1600" dirty="0">
                <a:solidFill>
                  <a:schemeClr val="accent1"/>
                </a:solidFill>
                <a:latin typeface="Arial" panose="020B0604020202020204" pitchFamily="34" charset="0"/>
              </a:rPr>
              <a:t>the occurrence of one event blocks another event</a:t>
            </a:r>
            <a:endParaRPr lang="en-US" sz="1600" b="1" dirty="0">
              <a:solidFill>
                <a:schemeClr val="accent1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accent1"/>
                </a:solidFill>
                <a:latin typeface="Arial" panose="020B0604020202020204" pitchFamily="34" charset="0"/>
              </a:rPr>
              <a:t>Exhaustive Events – </a:t>
            </a:r>
            <a:r>
              <a:rPr lang="en-US" sz="1600" dirty="0">
                <a:solidFill>
                  <a:schemeClr val="accent1"/>
                </a:solidFill>
                <a:latin typeface="Arial" panose="020B0604020202020204" pitchFamily="34" charset="0"/>
              </a:rPr>
              <a:t>the outcome of all events completes the sample space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B0E694AD-1B49-4F4E-8ED8-0B1650C77FD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17430" y="4791957"/>
            <a:ext cx="2709862" cy="1888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31070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F648BD9-4AD6-4B3D-B00B-B154450C2A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1418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F648BD9-4AD6-4B3D-B00B-B154450C2A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FCBB248-4DFD-41B3-BAA2-BBC7C388911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2440C3A-A635-4CB2-AABA-F385CCC65A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925" y="288925"/>
            <a:ext cx="10515600" cy="587375"/>
          </a:xfrm>
        </p:spPr>
        <p:txBody>
          <a:bodyPr>
            <a:normAutofit fontScale="90000"/>
          </a:bodyPr>
          <a:lstStyle/>
          <a:p>
            <a:pPr rtl="0">
              <a:spcBef>
                <a:spcPts val="0"/>
              </a:spcBef>
              <a:spcAft>
                <a:spcPts val="0"/>
              </a:spcAft>
            </a:pPr>
            <a:r>
              <a:rPr lang="en-US" sz="4400" b="0" i="0" u="none" strike="noStrike" dirty="0">
                <a:solidFill>
                  <a:schemeClr val="accent1"/>
                </a:solidFill>
                <a:effectLst/>
                <a:latin typeface="Arial" panose="020B0604020202020204" pitchFamily="34" charset="0"/>
              </a:rPr>
              <a:t>Probability Theory Contd</a:t>
            </a:r>
            <a:r>
              <a:rPr lang="en-US" dirty="0">
                <a:solidFill>
                  <a:schemeClr val="accent1"/>
                </a:solidFill>
                <a:latin typeface="Arial" panose="020B0604020202020204" pitchFamily="34" charset="0"/>
              </a:rPr>
              <a:t>.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3B6540-D072-4BE4-9C5D-272364F024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1925" y="824121"/>
            <a:ext cx="4657725" cy="410370"/>
          </a:xfrm>
        </p:spPr>
        <p:txBody>
          <a:bodyPr anchor="ctr">
            <a:normAutofit/>
          </a:bodyPr>
          <a:lstStyle/>
          <a:p>
            <a:pPr marL="0" indent="0" rtl="0">
              <a:spcBef>
                <a:spcPts val="0"/>
              </a:spcBef>
              <a:spcAft>
                <a:spcPts val="1600"/>
              </a:spcAft>
              <a:buNone/>
            </a:pPr>
            <a:r>
              <a:rPr lang="en-US" sz="1800" b="1" i="0" u="none" strike="noStrike" dirty="0">
                <a:solidFill>
                  <a:srgbClr val="595959"/>
                </a:solidFill>
                <a:effectLst/>
                <a:latin typeface="Arial" panose="020B0604020202020204" pitchFamily="34" charset="0"/>
              </a:rPr>
              <a:t>The chance that an event will occur</a:t>
            </a:r>
            <a:endParaRPr lang="en-US" b="0" dirty="0">
              <a:effectLst/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BF2329BD-39D0-4327-BEB7-225BDCC9F3E4}"/>
              </a:ext>
            </a:extLst>
          </p:cNvPr>
          <p:cNvSpPr txBox="1">
            <a:spLocks/>
          </p:cNvSpPr>
          <p:nvPr/>
        </p:nvSpPr>
        <p:spPr>
          <a:xfrm>
            <a:off x="161925" y="1237478"/>
            <a:ext cx="5505449" cy="85802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1800" b="1" dirty="0">
                <a:solidFill>
                  <a:srgbClr val="595959"/>
                </a:solidFill>
                <a:latin typeface="Arial" panose="020B0604020202020204" pitchFamily="34" charset="0"/>
              </a:rPr>
              <a:t>Sample Space –</a:t>
            </a:r>
            <a:r>
              <a:rPr lang="en-US" sz="1800" dirty="0">
                <a:solidFill>
                  <a:srgbClr val="595959"/>
                </a:solidFill>
                <a:latin typeface="Arial" panose="020B0604020202020204" pitchFamily="34" charset="0"/>
              </a:rPr>
              <a:t> Entire set of possible outcomes -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09346B-BE38-4F34-9B98-5B0732546F45}"/>
              </a:ext>
            </a:extLst>
          </p:cNvPr>
          <p:cNvSpPr txBox="1"/>
          <p:nvPr/>
        </p:nvSpPr>
        <p:spPr>
          <a:xfrm>
            <a:off x="5788820" y="1481823"/>
            <a:ext cx="20431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800" b="1" dirty="0">
                <a:solidFill>
                  <a:schemeClr val="accent2"/>
                </a:solidFill>
                <a:latin typeface="Arial" panose="020B0604020202020204" pitchFamily="34" charset="0"/>
              </a:rPr>
              <a:t>(Head or Tail)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394694A-446D-48F2-83FA-3BCA238DFDBA}"/>
              </a:ext>
            </a:extLst>
          </p:cNvPr>
          <p:cNvSpPr txBox="1">
            <a:spLocks/>
          </p:cNvSpPr>
          <p:nvPr/>
        </p:nvSpPr>
        <p:spPr>
          <a:xfrm>
            <a:off x="161925" y="2095500"/>
            <a:ext cx="11687176" cy="36212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1800" b="1" dirty="0">
                <a:solidFill>
                  <a:srgbClr val="595959"/>
                </a:solidFill>
                <a:latin typeface="Arial" panose="020B0604020202020204" pitchFamily="34" charset="0"/>
              </a:rPr>
              <a:t>Probability Rules – 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800" dirty="0">
                <a:solidFill>
                  <a:srgbClr val="595959"/>
                </a:solidFill>
                <a:latin typeface="Arial" panose="020B0604020202020204" pitchFamily="34" charset="0"/>
              </a:rPr>
              <a:t>The probability of an event occurring always has a value between 0 and 1, inclusive –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sz="1400" dirty="0">
                <a:solidFill>
                  <a:srgbClr val="595959"/>
                </a:solidFill>
                <a:latin typeface="Arial" panose="020B0604020202020204" pitchFamily="34" charset="0"/>
              </a:rPr>
              <a:t>A prob of 0 means that event will not occur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sz="1400" dirty="0">
                <a:solidFill>
                  <a:srgbClr val="595959"/>
                </a:solidFill>
                <a:latin typeface="Arial" panose="020B0604020202020204" pitchFamily="34" charset="0"/>
              </a:rPr>
              <a:t>A prob of 1 means that event will definitely occur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800" dirty="0">
                <a:solidFill>
                  <a:srgbClr val="595959"/>
                </a:solidFill>
                <a:latin typeface="Arial" panose="020B0604020202020204" pitchFamily="34" charset="0"/>
              </a:rPr>
              <a:t>The probability of all outcomes of an event must always add up to 1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sz="1400" dirty="0">
                <a:solidFill>
                  <a:srgbClr val="595959"/>
                </a:solidFill>
                <a:latin typeface="Arial" panose="020B0604020202020204" pitchFamily="34" charset="0"/>
              </a:rPr>
              <a:t>Examples of all outcomes of flipping a coin 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sz="1400" dirty="0">
                <a:solidFill>
                  <a:srgbClr val="595959"/>
                </a:solidFill>
                <a:latin typeface="Arial" panose="020B0604020202020204" pitchFamily="34" charset="0"/>
              </a:rPr>
              <a:t>Examples of all outcomes of flipping two coin 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endParaRPr lang="en-US" sz="1800" b="1" dirty="0">
              <a:solidFill>
                <a:srgbClr val="595959"/>
              </a:solidFill>
              <a:latin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800" b="1" dirty="0">
                <a:solidFill>
                  <a:srgbClr val="595959"/>
                </a:solidFill>
                <a:latin typeface="Arial" panose="020B0604020202020204" pitchFamily="34" charset="0"/>
              </a:rPr>
              <a:t>The complement Rule – </a:t>
            </a:r>
            <a:r>
              <a:rPr lang="en-US" sz="1800" dirty="0">
                <a:solidFill>
                  <a:srgbClr val="595959"/>
                </a:solidFill>
                <a:latin typeface="Arial" panose="020B0604020202020204" pitchFamily="34" charset="0"/>
              </a:rPr>
              <a:t>Since the prob of all outcomes of an event always add up to 1, the prob that an event does not occur, is equal to 1 minus that event will occur</a:t>
            </a:r>
          </a:p>
          <a:p>
            <a:pPr marL="0" indent="0" algn="ctr">
              <a:spcBef>
                <a:spcPts val="0"/>
              </a:spcBef>
              <a:spcAft>
                <a:spcPts val="600"/>
              </a:spcAft>
              <a:buNone/>
            </a:pPr>
            <a:endParaRPr lang="en-US" sz="1800" b="1" dirty="0">
              <a:solidFill>
                <a:srgbClr val="595959"/>
              </a:solidFill>
              <a:latin typeface="Arial" panose="020B0604020202020204" pitchFamily="34" charset="0"/>
            </a:endParaRPr>
          </a:p>
          <a:p>
            <a:pPr marL="0" indent="0" algn="ctr"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800" b="1" dirty="0">
                <a:solidFill>
                  <a:srgbClr val="595959"/>
                </a:solidFill>
                <a:latin typeface="Arial" panose="020B0604020202020204" pitchFamily="34" charset="0"/>
              </a:rPr>
              <a:t>P(A</a:t>
            </a:r>
            <a:r>
              <a:rPr lang="en-US" sz="1800" b="1" baseline="30000" dirty="0">
                <a:solidFill>
                  <a:srgbClr val="595959"/>
                </a:solidFill>
                <a:latin typeface="Arial" panose="020B0604020202020204" pitchFamily="34" charset="0"/>
              </a:rPr>
              <a:t>C</a:t>
            </a:r>
            <a:r>
              <a:rPr lang="en-US" sz="1800" b="1" dirty="0">
                <a:solidFill>
                  <a:srgbClr val="595959"/>
                </a:solidFill>
                <a:latin typeface="Arial" panose="020B0604020202020204" pitchFamily="34" charset="0"/>
              </a:rPr>
              <a:t>) = 1 – P(A)</a:t>
            </a:r>
            <a:endParaRPr lang="en-US" sz="1800" b="1" baseline="30000" dirty="0">
              <a:solidFill>
                <a:srgbClr val="595959"/>
              </a:solidFill>
              <a:latin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en-US" b="1" baseline="30000" dirty="0">
                <a:solidFill>
                  <a:srgbClr val="595959"/>
                </a:solidFill>
                <a:latin typeface="Arial" panose="020B0604020202020204" pitchFamily="34" charset="0"/>
              </a:rPr>
              <a:t>Q –</a:t>
            </a:r>
            <a:r>
              <a:rPr lang="en-US" baseline="30000" dirty="0">
                <a:solidFill>
                  <a:srgbClr val="595959"/>
                </a:solidFill>
                <a:latin typeface="Arial" panose="020B0604020202020204" pitchFamily="34" charset="0"/>
              </a:rPr>
              <a:t> If we flip two coins, what is the prob of not getting two tails?</a:t>
            </a:r>
            <a:endParaRPr lang="en-US" sz="2000" dirty="0">
              <a:solidFill>
                <a:srgbClr val="595959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69831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F648BD9-4AD6-4B3D-B00B-B154450C2A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8469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F648BD9-4AD6-4B3D-B00B-B154450C2A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FCBB248-4DFD-41B3-BAA2-BBC7C388911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2440C3A-A635-4CB2-AABA-F385CCC65A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925" y="288925"/>
            <a:ext cx="10515600" cy="587375"/>
          </a:xfrm>
        </p:spPr>
        <p:txBody>
          <a:bodyPr>
            <a:normAutofit fontScale="90000"/>
          </a:bodyPr>
          <a:lstStyle/>
          <a:p>
            <a:pPr rtl="0">
              <a:spcBef>
                <a:spcPts val="0"/>
              </a:spcBef>
              <a:spcAft>
                <a:spcPts val="0"/>
              </a:spcAft>
            </a:pPr>
            <a:r>
              <a:rPr lang="en-US" sz="4400" b="0" i="0" u="none" strike="noStrike" dirty="0">
                <a:solidFill>
                  <a:schemeClr val="accent1"/>
                </a:solidFill>
                <a:effectLst/>
                <a:latin typeface="Arial" panose="020B0604020202020204" pitchFamily="34" charset="0"/>
              </a:rPr>
              <a:t>Probability Theory – Conditional Probability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3B6540-D072-4BE4-9C5D-272364F024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1925" y="824121"/>
            <a:ext cx="9229725" cy="410370"/>
          </a:xfrm>
        </p:spPr>
        <p:txBody>
          <a:bodyPr anchor="ctr">
            <a:normAutofit/>
          </a:bodyPr>
          <a:lstStyle/>
          <a:p>
            <a:pPr marL="0" indent="0" rtl="0">
              <a:spcBef>
                <a:spcPts val="0"/>
              </a:spcBef>
              <a:spcAft>
                <a:spcPts val="1600"/>
              </a:spcAft>
              <a:buNone/>
            </a:pPr>
            <a:r>
              <a:rPr lang="en-US" sz="1800" b="1" i="0" u="none" strike="noStrike" dirty="0">
                <a:solidFill>
                  <a:srgbClr val="595959"/>
                </a:solidFill>
                <a:effectLst/>
                <a:latin typeface="Arial" panose="020B0604020202020204" pitchFamily="34" charset="0"/>
              </a:rPr>
              <a:t>The chance that an event will occur with a certain information given</a:t>
            </a:r>
            <a:endParaRPr lang="en-US" b="0" dirty="0">
              <a:effectLst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394694A-446D-48F2-83FA-3BCA238DFDBA}"/>
              </a:ext>
            </a:extLst>
          </p:cNvPr>
          <p:cNvSpPr txBox="1">
            <a:spLocks/>
          </p:cNvSpPr>
          <p:nvPr/>
        </p:nvSpPr>
        <p:spPr>
          <a:xfrm>
            <a:off x="161925" y="3007835"/>
            <a:ext cx="11687176" cy="362128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0" i="0" dirty="0">
                <a:solidFill>
                  <a:srgbClr val="777777"/>
                </a:solidFill>
                <a:effectLst/>
                <a:latin typeface="pt sans"/>
              </a:rPr>
              <a:t>Q - In a group of 100 sports car buyers, 40 bought alarm systems, 30 purchased bucket seats, and 20 purchased an alarm system and bucket seats. If a car buyer chosen at random bought an alarm system, what is the probability they also bought bucket seats?</a:t>
            </a:r>
          </a:p>
          <a:p>
            <a:pPr marL="0" indent="0">
              <a:buNone/>
            </a:pPr>
            <a:r>
              <a:rPr lang="en-US" sz="2000" b="1" dirty="0">
                <a:solidFill>
                  <a:srgbClr val="777777"/>
                </a:solidFill>
                <a:latin typeface="pt sans"/>
              </a:rPr>
              <a:t>Ans -</a:t>
            </a:r>
            <a:r>
              <a:rPr lang="en-US" sz="2000" dirty="0">
                <a:solidFill>
                  <a:srgbClr val="777777"/>
                </a:solidFill>
                <a:latin typeface="pt sans"/>
              </a:rPr>
              <a:t>  N = 100</a:t>
            </a:r>
          </a:p>
          <a:p>
            <a:pPr marL="0" indent="0">
              <a:buNone/>
            </a:pPr>
            <a:r>
              <a:rPr lang="en-US" sz="1800" dirty="0">
                <a:solidFill>
                  <a:srgbClr val="777777"/>
                </a:solidFill>
                <a:latin typeface="pt sans"/>
              </a:rPr>
              <a:t>P(Alarm Systems) = 40/100</a:t>
            </a:r>
            <a:endParaRPr lang="en-US" sz="2000" dirty="0">
              <a:solidFill>
                <a:srgbClr val="777777"/>
              </a:solidFill>
              <a:latin typeface="pt sans"/>
            </a:endParaRPr>
          </a:p>
          <a:p>
            <a:pPr marL="0" indent="0">
              <a:buNone/>
            </a:pPr>
            <a:endParaRPr lang="en-US" sz="20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61FDE7F-8AF8-4139-BA6A-D8D8193F596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2412" y="1333776"/>
            <a:ext cx="3619499" cy="163774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4B4EA70-2C93-430D-BA14-5409165CB3B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12468" y="1333776"/>
            <a:ext cx="3619499" cy="1637748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5C81EE84-158B-4DA5-A20C-A5A346724FA1}"/>
              </a:ext>
            </a:extLst>
          </p:cNvPr>
          <p:cNvSpPr txBox="1"/>
          <p:nvPr/>
        </p:nvSpPr>
        <p:spPr>
          <a:xfrm>
            <a:off x="4024316" y="4320050"/>
            <a:ext cx="296126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800" dirty="0">
                <a:solidFill>
                  <a:srgbClr val="777777"/>
                </a:solidFill>
                <a:latin typeface="pt sans"/>
              </a:rPr>
              <a:t>P(Bucket Seats) = 30/100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16D10FE-0B8C-402E-BF06-34A937B494B3}"/>
              </a:ext>
            </a:extLst>
          </p:cNvPr>
          <p:cNvSpPr txBox="1"/>
          <p:nvPr/>
        </p:nvSpPr>
        <p:spPr>
          <a:xfrm>
            <a:off x="8030585" y="4320050"/>
            <a:ext cx="337084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800" dirty="0">
                <a:solidFill>
                  <a:srgbClr val="777777"/>
                </a:solidFill>
                <a:latin typeface="pt sans"/>
              </a:rPr>
              <a:t>P(Alarm and Bucket) = 20/100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FA291C7-7C29-45CF-8C9D-DEA91F03625E}"/>
              </a:ext>
            </a:extLst>
          </p:cNvPr>
          <p:cNvSpPr txBox="1"/>
          <p:nvPr/>
        </p:nvSpPr>
        <p:spPr>
          <a:xfrm>
            <a:off x="3832555" y="5461040"/>
            <a:ext cx="630605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800" dirty="0">
                <a:solidFill>
                  <a:srgbClr val="777777"/>
                </a:solidFill>
                <a:latin typeface="pt sans"/>
              </a:rPr>
              <a:t>P(Bucket | alarm) = 20/100 / 40/100 = 0.5 or 50/100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7FB2E719-281A-4CEC-839C-149A7C0653F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2064" y="4736251"/>
            <a:ext cx="2872794" cy="1945277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D20DE7-7481-4E36-BE50-AE33497B375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460399" y="1333776"/>
            <a:ext cx="3479189" cy="1637748"/>
          </a:xfrm>
          <a:prstGeom prst="rect">
            <a:avLst/>
          </a:prstGeom>
        </p:spPr>
      </p:pic>
      <p:sp>
        <p:nvSpPr>
          <p:cNvPr id="24" name="Arrow: Right 23">
            <a:extLst>
              <a:ext uri="{FF2B5EF4-FFF2-40B4-BE49-F238E27FC236}">
                <a16:creationId xmlns:a16="http://schemas.microsoft.com/office/drawing/2014/main" id="{F80F5F14-F4D5-4FAB-B8B1-FCD4AF70E354}"/>
              </a:ext>
            </a:extLst>
          </p:cNvPr>
          <p:cNvSpPr/>
          <p:nvPr/>
        </p:nvSpPr>
        <p:spPr>
          <a:xfrm>
            <a:off x="4000593" y="2096696"/>
            <a:ext cx="347659" cy="22477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Arrow: Right 24">
            <a:extLst>
              <a:ext uri="{FF2B5EF4-FFF2-40B4-BE49-F238E27FC236}">
                <a16:creationId xmlns:a16="http://schemas.microsoft.com/office/drawing/2014/main" id="{06E03A89-504B-41E6-A684-EA317E9B7F88}"/>
              </a:ext>
            </a:extLst>
          </p:cNvPr>
          <p:cNvSpPr/>
          <p:nvPr/>
        </p:nvSpPr>
        <p:spPr>
          <a:xfrm>
            <a:off x="8212301" y="1992518"/>
            <a:ext cx="347659" cy="22477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1857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D2B9F43-4F25-4129-88E8-2922D195DD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5417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D2B9F43-4F25-4129-88E8-2922D195DD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C033E936-DAAF-4D52-B80E-37EB5E7A390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FE040B-CB40-4740-A37C-E7ED67ECB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464" y="-12269"/>
            <a:ext cx="12001072" cy="847225"/>
          </a:xfrm>
        </p:spPr>
        <p:txBody>
          <a:bodyPr>
            <a:normAutofit/>
          </a:bodyPr>
          <a:lstStyle/>
          <a:p>
            <a:r>
              <a:rPr lang="en-US" sz="4000" b="0" i="0" u="none" strike="noStrike" dirty="0">
                <a:solidFill>
                  <a:schemeClr val="accent1"/>
                </a:solidFill>
                <a:effectLst/>
                <a:latin typeface="Arial" panose="020B0604020202020204" pitchFamily="34" charset="0"/>
              </a:rPr>
              <a:t>Probability Theory – Conditional Probability </a:t>
            </a:r>
            <a:r>
              <a:rPr lang="en-US" sz="4000" b="0" i="0" u="none" strike="noStrike" dirty="0" err="1">
                <a:solidFill>
                  <a:schemeClr val="accent1"/>
                </a:solidFill>
                <a:effectLst/>
                <a:latin typeface="Arial" panose="020B0604020202020204" pitchFamily="34" charset="0"/>
              </a:rPr>
              <a:t>Contd</a:t>
            </a:r>
            <a:r>
              <a:rPr lang="en-US" sz="4000" b="0" i="0" u="none" strike="noStrike" dirty="0">
                <a:solidFill>
                  <a:schemeClr val="accent1"/>
                </a:solidFill>
                <a:effectLst/>
                <a:latin typeface="Arial" panose="020B0604020202020204" pitchFamily="34" charset="0"/>
              </a:rPr>
              <a:t>…</a:t>
            </a:r>
            <a:endParaRPr lang="en-US" sz="40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32E2238-DECB-41B8-B249-85AD46D8C9F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40273" y="2479182"/>
            <a:ext cx="6726519" cy="395491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2DF0187-5543-4A3B-BE9E-FA74A01550D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08534" y="732215"/>
            <a:ext cx="4712413" cy="1644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00150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Z7CTPZmYbvhISdsmi7V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sYnMSvy04npKsKGWUMR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sYnMSvy04npKsKGWUMR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sYnMSvy04npKsKGWUMR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sYnMSvy04npKsKGWUMR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_wBV4xIRRmMstL_pt6O5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RFcb9YqcAUIPNJsr1U8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RFcb9YqcAUIPNJsr1U8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F4olfhkQa7A1L5O5B_3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F4olfhkQa7A1L5O5B_3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UYScdwC_H9ln0ZSlBX7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F4olfhkQa7A1L5O5B_3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oeJ2qtbrPb5GRfzsBWU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F4olfhkQa7A1L5O5B_3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oVG2k7D4gkpa7PyVn_c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sYnMSvy04npKsKGWUMR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4CBJkgvFpLrrPqQOEKI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006</TotalTime>
  <Words>2327</Words>
  <Application>Microsoft Office PowerPoint</Application>
  <PresentationFormat>Widescreen</PresentationFormat>
  <Paragraphs>231</Paragraphs>
  <Slides>35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3" baseType="lpstr">
      <vt:lpstr>Arial</vt:lpstr>
      <vt:lpstr>Calibri</vt:lpstr>
      <vt:lpstr>Calibri Light</vt:lpstr>
      <vt:lpstr>PayPal Sans Big Light</vt:lpstr>
      <vt:lpstr>PayPal Sans Big Medium</vt:lpstr>
      <vt:lpstr>pt sans</vt:lpstr>
      <vt:lpstr>Office Theme</vt:lpstr>
      <vt:lpstr>think-cell Slide</vt:lpstr>
      <vt:lpstr>Inferential Statistics</vt:lpstr>
      <vt:lpstr>Sampling and Population</vt:lpstr>
      <vt:lpstr>Sampling and Population Contd…</vt:lpstr>
      <vt:lpstr>Parameter v/s Statistic</vt:lpstr>
      <vt:lpstr>Probability Theory</vt:lpstr>
      <vt:lpstr>Independent and Dependent Events</vt:lpstr>
      <vt:lpstr>Probability Theory Contd.</vt:lpstr>
      <vt:lpstr>Probability Theory – Conditional Probability</vt:lpstr>
      <vt:lpstr>Probability Theory – Conditional Probability Contd…</vt:lpstr>
      <vt:lpstr>Probability Theory – Bayes Theorem</vt:lpstr>
      <vt:lpstr>Probability Distributions</vt:lpstr>
      <vt:lpstr>Probability Distributions Contd…</vt:lpstr>
      <vt:lpstr>Discrete Distributions</vt:lpstr>
      <vt:lpstr>Discrete Distributions Contd…</vt:lpstr>
      <vt:lpstr>Binomial Distributions Contd…</vt:lpstr>
      <vt:lpstr>Discrete Distributions Contd…</vt:lpstr>
      <vt:lpstr>Density Curves – What are they &amp; Where they are coming from?</vt:lpstr>
      <vt:lpstr>Where it is coming from – A Curve around the histogram itself…</vt:lpstr>
      <vt:lpstr>Uses of Density Curves – As Population/Sample size increases…</vt:lpstr>
      <vt:lpstr>Practice Questions - 1</vt:lpstr>
      <vt:lpstr>Normal Distribution – A special type of density curve</vt:lpstr>
      <vt:lpstr>Normal Distribution – the 68-95-99.7 Rule</vt:lpstr>
      <vt:lpstr>Practice Questions - 1</vt:lpstr>
      <vt:lpstr>Practice Questions - 1</vt:lpstr>
      <vt:lpstr>Standard Normal Distribution – A special type of Normal Distribution</vt:lpstr>
      <vt:lpstr>Standard Normal Distribution – How &amp; Why do we calculate Z-Scores</vt:lpstr>
      <vt:lpstr>Standard Normal Distribution – Area of Z-scores</vt:lpstr>
      <vt:lpstr>Standard Normal Distribution – How do we calculate Z-Scores contd…</vt:lpstr>
      <vt:lpstr>Practice Questions - 1</vt:lpstr>
      <vt:lpstr>Parameter v/s Statistics – Revisit..</vt:lpstr>
      <vt:lpstr>Central Limit Theorem – Where it is applicable?</vt:lpstr>
      <vt:lpstr>PowerPoint Presentation</vt:lpstr>
      <vt:lpstr>Degrees of Freedom</vt:lpstr>
      <vt:lpstr>Chi-Square Test</vt:lpstr>
      <vt:lpstr>Chi-Square Test Contd…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habra, Aniket</dc:creator>
  <cp:lastModifiedBy>Aniket Chhabra</cp:lastModifiedBy>
  <cp:revision>16</cp:revision>
  <dcterms:created xsi:type="dcterms:W3CDTF">2020-10-12T10:46:38Z</dcterms:created>
  <dcterms:modified xsi:type="dcterms:W3CDTF">2021-07-24T02:41:33Z</dcterms:modified>
</cp:coreProperties>
</file>